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2"/>
  </p:notesMasterIdLst>
  <p:handoutMasterIdLst>
    <p:handoutMasterId r:id="rId23"/>
  </p:handoutMasterIdLst>
  <p:sldIdLst>
    <p:sldId id="398" r:id="rId5"/>
    <p:sldId id="314" r:id="rId6"/>
    <p:sldId id="457" r:id="rId7"/>
    <p:sldId id="436" r:id="rId8"/>
    <p:sldId id="471" r:id="rId9"/>
    <p:sldId id="459" r:id="rId10"/>
    <p:sldId id="468" r:id="rId11"/>
    <p:sldId id="426" r:id="rId12"/>
    <p:sldId id="474" r:id="rId13"/>
    <p:sldId id="475" r:id="rId14"/>
    <p:sldId id="476" r:id="rId15"/>
    <p:sldId id="463" r:id="rId16"/>
    <p:sldId id="456" r:id="rId17"/>
    <p:sldId id="460" r:id="rId18"/>
    <p:sldId id="472" r:id="rId19"/>
    <p:sldId id="473" r:id="rId20"/>
    <p:sldId id="464" r:id="rId21"/>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haron" initials="SS" lastIdx="27" clrIdx="0"/>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81DD00"/>
    <a:srgbClr val="99FF66"/>
    <a:srgbClr val="BABABA"/>
    <a:srgbClr val="A8D373"/>
    <a:srgbClr val="FA0802"/>
    <a:srgbClr val="FF6600"/>
    <a:srgbClr val="F86206"/>
    <a:srgbClr val="811837"/>
    <a:srgbClr val="606060"/>
    <a:srgbClr val="E9E9E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33" autoAdjust="0"/>
    <p:restoredTop sz="96051" autoAdjust="0"/>
  </p:normalViewPr>
  <p:slideViewPr>
    <p:cSldViewPr snapToGrid="0" showGuides="1">
      <p:cViewPr varScale="1">
        <p:scale>
          <a:sx n="96" d="100"/>
          <a:sy n="96" d="100"/>
        </p:scale>
        <p:origin x="-360" y="-102"/>
      </p:cViewPr>
      <p:guideLst>
        <p:guide orient="horz" pos="204"/>
        <p:guide pos="2450"/>
        <p:guide pos="5124"/>
        <p:guide pos="2943"/>
        <p:guide pos="335"/>
        <p:guide pos="5063"/>
        <p:guide pos="418"/>
      </p:guideLst>
    </p:cSldViewPr>
  </p:slideViewPr>
  <p:outlineViewPr>
    <p:cViewPr>
      <p:scale>
        <a:sx n="33" d="100"/>
        <a:sy n="33" d="100"/>
      </p:scale>
      <p:origin x="0" y="6024"/>
    </p:cViewPr>
  </p:outlineViewPr>
  <p:notesTextViewPr>
    <p:cViewPr>
      <p:scale>
        <a:sx n="100" d="100"/>
        <a:sy n="100" d="100"/>
      </p:scale>
      <p:origin x="0" y="0"/>
    </p:cViewPr>
  </p:notesTextViewPr>
  <p:sorterViewPr>
    <p:cViewPr>
      <p:scale>
        <a:sx n="100" d="100"/>
        <a:sy n="100" d="100"/>
      </p:scale>
      <p:origin x="0" y="6510"/>
    </p:cViewPr>
  </p:sorterViewPr>
  <p:notesViewPr>
    <p:cSldViewPr snapToGrid="0" showGuides="1">
      <p:cViewPr varScale="1">
        <p:scale>
          <a:sx n="63" d="100"/>
          <a:sy n="63" d="100"/>
        </p:scale>
        <p:origin x="-2244" y="-120"/>
      </p:cViewPr>
      <p:guideLst>
        <p:guide orient="horz" pos="2928"/>
        <p:guide pos="2208"/>
      </p:guideLst>
    </p:cSldViewPr>
  </p:notesViewPr>
  <p:gridSpacing cx="38405" cy="38405"/>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598972E-3914-41AD-AF08-F4D9930FAE5D}" type="doc">
      <dgm:prSet loTypeId="urn:microsoft.com/office/officeart/2005/8/layout/chevron1" loCatId="process" qsTypeId="urn:microsoft.com/office/officeart/2005/8/quickstyle/simple1" qsCatId="simple" csTypeId="urn:microsoft.com/office/officeart/2005/8/colors/accent1_2" csCatId="accent1" phldr="1"/>
      <dgm:spPr/>
    </dgm:pt>
    <dgm:pt modelId="{AC5709A2-A3B9-4141-B12C-E5A65FF04107}" type="pres">
      <dgm:prSet presAssocID="{2598972E-3914-41AD-AF08-F4D9930FAE5D}" presName="Name0" presStyleCnt="0">
        <dgm:presLayoutVars>
          <dgm:dir/>
          <dgm:animLvl val="lvl"/>
          <dgm:resizeHandles val="exact"/>
        </dgm:presLayoutVars>
      </dgm:prSet>
      <dgm:spPr/>
    </dgm:pt>
  </dgm:ptLst>
  <dgm:cxnLst>
    <dgm:cxn modelId="{5DD9D1C5-F558-4BE0-8A15-790A9F5182F1}" type="presOf" srcId="{2598972E-3914-41AD-AF08-F4D9930FAE5D}" destId="{AC5709A2-A3B9-4141-B12C-E5A65FF04107}" srcOrd="0" destOrd="0" presId="urn:microsoft.com/office/officeart/2005/8/layout/chevron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1"/>
            <a:ext cx="3037840" cy="464820"/>
          </a:xfrm>
          <a:prstGeom prst="rect">
            <a:avLst/>
          </a:prstGeom>
        </p:spPr>
        <p:txBody>
          <a:bodyPr vert="horz" lIns="93177" tIns="46589" rIns="93177" bIns="46589" rtlCol="0"/>
          <a:lstStyle>
            <a:lvl1pPr algn="r">
              <a:defRPr sz="1200"/>
            </a:lvl1pPr>
          </a:lstStyle>
          <a:p>
            <a:fld id="{D5BD78FF-B1C8-3E4D-A610-8CC16E4B3835}" type="datetimeFigureOut">
              <a:rPr lang="en-US" smtClean="0"/>
              <a:pPr/>
              <a:t>1/4/2016</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r>
              <a:rPr lang="en-US" smtClean="0"/>
              <a:t>PRIVATE AND CONFIDENTIAL</a:t>
            </a:r>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D01F94C8-A286-A148-9DE5-82145847466E}" type="slidenum">
              <a:rPr lang="en-US" smtClean="0"/>
              <a:pPr/>
              <a:t>‹#›</a:t>
            </a:fld>
            <a:endParaRPr lang="en-US"/>
          </a:p>
        </p:txBody>
      </p:sp>
    </p:spTree>
    <p:extLst>
      <p:ext uri="{BB962C8B-B14F-4D97-AF65-F5344CB8AC3E}">
        <p14:creationId xmlns:p14="http://schemas.microsoft.com/office/powerpoint/2010/main" val="23071197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1"/>
            <a:ext cx="3037840" cy="464820"/>
          </a:xfrm>
          <a:prstGeom prst="rect">
            <a:avLst/>
          </a:prstGeom>
        </p:spPr>
        <p:txBody>
          <a:bodyPr vert="horz" lIns="93177" tIns="46589" rIns="93177" bIns="46589" rtlCol="0"/>
          <a:lstStyle>
            <a:lvl1pPr algn="r">
              <a:defRPr sz="1200"/>
            </a:lvl1pPr>
          </a:lstStyle>
          <a:p>
            <a:fld id="{214C08B1-0926-46EB-A72C-6066AF429DCA}" type="datetimeFigureOut">
              <a:rPr lang="en-US" smtClean="0"/>
              <a:pPr/>
              <a:t>1/4/2016</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1" y="4415791"/>
            <a:ext cx="5608320" cy="4183380"/>
          </a:xfrm>
          <a:prstGeom prst="rect">
            <a:avLst/>
          </a:prstGeom>
        </p:spPr>
        <p:txBody>
          <a:bodyPr vert="horz" lIns="93177" tIns="46589" rIns="93177" bIns="4658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r>
              <a:rPr lang="en-US" smtClean="0"/>
              <a:t>PRIVATE AND CONFIDENTIAL</a:t>
            </a:r>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4B02C7CD-395C-4DB6-9C71-EA637A90D920}" type="slidenum">
              <a:rPr lang="en-US" smtClean="0"/>
              <a:pPr/>
              <a:t>‹#›</a:t>
            </a:fld>
            <a:endParaRPr lang="en-US"/>
          </a:p>
        </p:txBody>
      </p:sp>
    </p:spTree>
    <p:extLst>
      <p:ext uri="{BB962C8B-B14F-4D97-AF65-F5344CB8AC3E}">
        <p14:creationId xmlns:p14="http://schemas.microsoft.com/office/powerpoint/2010/main" val="7590460"/>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pg num"/>
          <p:cNvSpPr txBox="1">
            <a:spLocks noGrp="1" noChangeArrowheads="1"/>
          </p:cNvSpPr>
          <p:nvPr/>
        </p:nvSpPr>
        <p:spPr bwMode="auto">
          <a:xfrm>
            <a:off x="6240646" y="8928586"/>
            <a:ext cx="557863" cy="184666"/>
          </a:xfrm>
          <a:prstGeom prst="rect">
            <a:avLst/>
          </a:prstGeom>
          <a:noFill/>
          <a:ln w="9525">
            <a:noFill/>
            <a:miter lim="800000"/>
            <a:headEnd/>
            <a:tailEnd/>
          </a:ln>
        </p:spPr>
        <p:txBody>
          <a:bodyPr lIns="0" tIns="0" rIns="0" bIns="0" anchor="b">
            <a:spAutoFit/>
          </a:bodyPr>
          <a:lstStyle/>
          <a:p>
            <a:pPr algn="r"/>
            <a:fld id="{91F1949E-EE63-44C9-89E2-7B7C32B9F977}" type="slidenum">
              <a:rPr lang="en-US" sz="1200"/>
              <a:pPr algn="r"/>
              <a:t>1</a:t>
            </a:fld>
            <a:endParaRPr lang="en-US" sz="1200" dirty="0"/>
          </a:p>
        </p:txBody>
      </p:sp>
      <p:sp>
        <p:nvSpPr>
          <p:cNvPr id="28674" name="Rectangle 4"/>
          <p:cNvSpPr>
            <a:spLocks noGrp="1" noRot="1" noChangeAspect="1" noChangeArrowheads="1" noTextEdit="1"/>
          </p:cNvSpPr>
          <p:nvPr>
            <p:ph type="sldImg"/>
          </p:nvPr>
        </p:nvSpPr>
        <p:spPr/>
      </p:sp>
      <p:sp>
        <p:nvSpPr>
          <p:cNvPr id="4" name="Footer Placeholder 3"/>
          <p:cNvSpPr>
            <a:spLocks noGrp="1"/>
          </p:cNvSpPr>
          <p:nvPr>
            <p:ph type="ftr" sz="quarter" idx="10"/>
          </p:nvPr>
        </p:nvSpPr>
        <p:spPr/>
        <p:txBody>
          <a:bodyPr/>
          <a:lstStyle/>
          <a:p>
            <a:r>
              <a:rPr lang="en-US" smtClean="0"/>
              <a:t>PRIVATE AND CONFIDENTIAL</a:t>
            </a:r>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0" name="Rectangle 19"/>
          <p:cNvSpPr/>
          <p:nvPr userDrawn="1"/>
        </p:nvSpPr>
        <p:spPr>
          <a:xfrm>
            <a:off x="0" y="0"/>
            <a:ext cx="9144000" cy="685800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a:noFill/>
              </a:ln>
              <a:solidFill>
                <a:schemeClr val="bg1"/>
              </a:solidFill>
            </a:endParaRPr>
          </a:p>
        </p:txBody>
      </p:sp>
      <p:grpSp>
        <p:nvGrpSpPr>
          <p:cNvPr id="9" name="Group 8"/>
          <p:cNvGrpSpPr/>
          <p:nvPr userDrawn="1"/>
        </p:nvGrpSpPr>
        <p:grpSpPr>
          <a:xfrm>
            <a:off x="3856383" y="5603214"/>
            <a:ext cx="4929855" cy="993352"/>
            <a:chOff x="122238" y="4995863"/>
            <a:chExt cx="7208837" cy="1452562"/>
          </a:xfrm>
          <a:solidFill>
            <a:schemeClr val="tx1"/>
          </a:solidFill>
        </p:grpSpPr>
        <p:sp>
          <p:nvSpPr>
            <p:cNvPr id="10" name="Freeform 25"/>
            <p:cNvSpPr>
              <a:spLocks noEditPoints="1"/>
            </p:cNvSpPr>
            <p:nvPr/>
          </p:nvSpPr>
          <p:spPr bwMode="auto">
            <a:xfrm>
              <a:off x="122238" y="5021263"/>
              <a:ext cx="787400" cy="1065212"/>
            </a:xfrm>
            <a:custGeom>
              <a:avLst/>
              <a:gdLst/>
              <a:ahLst/>
              <a:cxnLst>
                <a:cxn ang="0">
                  <a:pos x="469" y="204"/>
                </a:cxn>
                <a:cxn ang="0">
                  <a:pos x="577" y="221"/>
                </a:cxn>
                <a:cxn ang="0">
                  <a:pos x="648" y="258"/>
                </a:cxn>
                <a:cxn ang="0">
                  <a:pos x="681" y="301"/>
                </a:cxn>
                <a:cxn ang="0">
                  <a:pos x="696" y="376"/>
                </a:cxn>
                <a:cxn ang="0">
                  <a:pos x="688" y="429"/>
                </a:cxn>
                <a:cxn ang="0">
                  <a:pos x="650" y="486"/>
                </a:cxn>
                <a:cxn ang="0">
                  <a:pos x="583" y="526"/>
                </a:cxn>
                <a:cxn ang="0">
                  <a:pos x="486" y="544"/>
                </a:cxn>
                <a:cxn ang="0">
                  <a:pos x="0" y="1342"/>
                </a:cxn>
                <a:cxn ang="0">
                  <a:pos x="579" y="1338"/>
                </a:cxn>
                <a:cxn ang="0">
                  <a:pos x="670" y="1323"/>
                </a:cxn>
                <a:cxn ang="0">
                  <a:pos x="756" y="1298"/>
                </a:cxn>
                <a:cxn ang="0">
                  <a:pos x="833" y="1260"/>
                </a:cxn>
                <a:cxn ang="0">
                  <a:pos x="899" y="1208"/>
                </a:cxn>
                <a:cxn ang="0">
                  <a:pos x="949" y="1142"/>
                </a:cxn>
                <a:cxn ang="0">
                  <a:pos x="981" y="1059"/>
                </a:cxn>
                <a:cxn ang="0">
                  <a:pos x="992" y="959"/>
                </a:cxn>
                <a:cxn ang="0">
                  <a:pos x="989" y="911"/>
                </a:cxn>
                <a:cxn ang="0">
                  <a:pos x="975" y="852"/>
                </a:cxn>
                <a:cxn ang="0">
                  <a:pos x="953" y="798"/>
                </a:cxn>
                <a:cxn ang="0">
                  <a:pos x="920" y="750"/>
                </a:cxn>
                <a:cxn ang="0">
                  <a:pos x="879" y="709"/>
                </a:cxn>
                <a:cxn ang="0">
                  <a:pos x="831" y="676"/>
                </a:cxn>
                <a:cxn ang="0">
                  <a:pos x="777" y="651"/>
                </a:cxn>
                <a:cxn ang="0">
                  <a:pos x="717" y="636"/>
                </a:cxn>
                <a:cxn ang="0">
                  <a:pos x="727" y="622"/>
                </a:cxn>
                <a:cxn ang="0">
                  <a:pos x="817" y="575"/>
                </a:cxn>
                <a:cxn ang="0">
                  <a:pos x="885" y="506"/>
                </a:cxn>
                <a:cxn ang="0">
                  <a:pos x="925" y="416"/>
                </a:cxn>
                <a:cxn ang="0">
                  <a:pos x="935" y="337"/>
                </a:cxn>
                <a:cxn ang="0">
                  <a:pos x="926" y="252"/>
                </a:cxn>
                <a:cxn ang="0">
                  <a:pos x="900" y="181"/>
                </a:cxn>
                <a:cxn ang="0">
                  <a:pos x="859" y="122"/>
                </a:cxn>
                <a:cxn ang="0">
                  <a:pos x="805" y="76"/>
                </a:cxn>
                <a:cxn ang="0">
                  <a:pos x="743" y="41"/>
                </a:cxn>
                <a:cxn ang="0">
                  <a:pos x="673" y="18"/>
                </a:cxn>
                <a:cxn ang="0">
                  <a:pos x="599" y="4"/>
                </a:cxn>
                <a:cxn ang="0">
                  <a:pos x="0" y="1342"/>
                </a:cxn>
                <a:cxn ang="0">
                  <a:pos x="503" y="751"/>
                </a:cxn>
                <a:cxn ang="0">
                  <a:pos x="620" y="765"/>
                </a:cxn>
                <a:cxn ang="0">
                  <a:pos x="683" y="792"/>
                </a:cxn>
                <a:cxn ang="0">
                  <a:pos x="714" y="818"/>
                </a:cxn>
                <a:cxn ang="0">
                  <a:pos x="736" y="851"/>
                </a:cxn>
                <a:cxn ang="0">
                  <a:pos x="749" y="892"/>
                </a:cxn>
                <a:cxn ang="0">
                  <a:pos x="752" y="956"/>
                </a:cxn>
                <a:cxn ang="0">
                  <a:pos x="742" y="1012"/>
                </a:cxn>
                <a:cxn ang="0">
                  <a:pos x="717" y="1055"/>
                </a:cxn>
                <a:cxn ang="0">
                  <a:pos x="683" y="1087"/>
                </a:cxn>
                <a:cxn ang="0">
                  <a:pos x="630" y="1114"/>
                </a:cxn>
                <a:cxn ang="0">
                  <a:pos x="532" y="1134"/>
                </a:cxn>
                <a:cxn ang="0">
                  <a:pos x="238" y="1137"/>
                </a:cxn>
              </a:cxnLst>
              <a:rect l="0" t="0" r="r" b="b"/>
              <a:pathLst>
                <a:path w="992" h="1342">
                  <a:moveTo>
                    <a:pt x="238" y="204"/>
                  </a:moveTo>
                  <a:lnTo>
                    <a:pt x="436" y="204"/>
                  </a:lnTo>
                  <a:lnTo>
                    <a:pt x="436" y="204"/>
                  </a:lnTo>
                  <a:lnTo>
                    <a:pt x="469" y="204"/>
                  </a:lnTo>
                  <a:lnTo>
                    <a:pt x="499" y="206"/>
                  </a:lnTo>
                  <a:lnTo>
                    <a:pt x="527" y="210"/>
                  </a:lnTo>
                  <a:lnTo>
                    <a:pt x="553" y="214"/>
                  </a:lnTo>
                  <a:lnTo>
                    <a:pt x="577" y="221"/>
                  </a:lnTo>
                  <a:lnTo>
                    <a:pt x="597" y="228"/>
                  </a:lnTo>
                  <a:lnTo>
                    <a:pt x="616" y="237"/>
                  </a:lnTo>
                  <a:lnTo>
                    <a:pt x="634" y="247"/>
                  </a:lnTo>
                  <a:lnTo>
                    <a:pt x="648" y="258"/>
                  </a:lnTo>
                  <a:lnTo>
                    <a:pt x="661" y="271"/>
                  </a:lnTo>
                  <a:lnTo>
                    <a:pt x="667" y="278"/>
                  </a:lnTo>
                  <a:lnTo>
                    <a:pt x="672" y="285"/>
                  </a:lnTo>
                  <a:lnTo>
                    <a:pt x="681" y="301"/>
                  </a:lnTo>
                  <a:lnTo>
                    <a:pt x="688" y="317"/>
                  </a:lnTo>
                  <a:lnTo>
                    <a:pt x="692" y="336"/>
                  </a:lnTo>
                  <a:lnTo>
                    <a:pt x="695" y="355"/>
                  </a:lnTo>
                  <a:lnTo>
                    <a:pt x="696" y="376"/>
                  </a:lnTo>
                  <a:lnTo>
                    <a:pt x="696" y="376"/>
                  </a:lnTo>
                  <a:lnTo>
                    <a:pt x="695" y="395"/>
                  </a:lnTo>
                  <a:lnTo>
                    <a:pt x="692" y="413"/>
                  </a:lnTo>
                  <a:lnTo>
                    <a:pt x="688" y="429"/>
                  </a:lnTo>
                  <a:lnTo>
                    <a:pt x="681" y="446"/>
                  </a:lnTo>
                  <a:lnTo>
                    <a:pt x="672" y="460"/>
                  </a:lnTo>
                  <a:lnTo>
                    <a:pt x="662" y="474"/>
                  </a:lnTo>
                  <a:lnTo>
                    <a:pt x="650" y="486"/>
                  </a:lnTo>
                  <a:lnTo>
                    <a:pt x="636" y="499"/>
                  </a:lnTo>
                  <a:lnTo>
                    <a:pt x="620" y="509"/>
                  </a:lnTo>
                  <a:lnTo>
                    <a:pt x="602" y="518"/>
                  </a:lnTo>
                  <a:lnTo>
                    <a:pt x="583" y="526"/>
                  </a:lnTo>
                  <a:lnTo>
                    <a:pt x="561" y="533"/>
                  </a:lnTo>
                  <a:lnTo>
                    <a:pt x="538" y="538"/>
                  </a:lnTo>
                  <a:lnTo>
                    <a:pt x="513" y="542"/>
                  </a:lnTo>
                  <a:lnTo>
                    <a:pt x="486" y="544"/>
                  </a:lnTo>
                  <a:lnTo>
                    <a:pt x="457" y="545"/>
                  </a:lnTo>
                  <a:lnTo>
                    <a:pt x="238" y="545"/>
                  </a:lnTo>
                  <a:lnTo>
                    <a:pt x="238" y="204"/>
                  </a:lnTo>
                  <a:close/>
                  <a:moveTo>
                    <a:pt x="0" y="1342"/>
                  </a:moveTo>
                  <a:lnTo>
                    <a:pt x="484" y="1342"/>
                  </a:lnTo>
                  <a:lnTo>
                    <a:pt x="484" y="1342"/>
                  </a:lnTo>
                  <a:lnTo>
                    <a:pt x="531" y="1341"/>
                  </a:lnTo>
                  <a:lnTo>
                    <a:pt x="579" y="1338"/>
                  </a:lnTo>
                  <a:lnTo>
                    <a:pt x="602" y="1335"/>
                  </a:lnTo>
                  <a:lnTo>
                    <a:pt x="625" y="1332"/>
                  </a:lnTo>
                  <a:lnTo>
                    <a:pt x="648" y="1328"/>
                  </a:lnTo>
                  <a:lnTo>
                    <a:pt x="670" y="1323"/>
                  </a:lnTo>
                  <a:lnTo>
                    <a:pt x="693" y="1318"/>
                  </a:lnTo>
                  <a:lnTo>
                    <a:pt x="714" y="1312"/>
                  </a:lnTo>
                  <a:lnTo>
                    <a:pt x="736" y="1305"/>
                  </a:lnTo>
                  <a:lnTo>
                    <a:pt x="756" y="1298"/>
                  </a:lnTo>
                  <a:lnTo>
                    <a:pt x="776" y="1290"/>
                  </a:lnTo>
                  <a:lnTo>
                    <a:pt x="796" y="1281"/>
                  </a:lnTo>
                  <a:lnTo>
                    <a:pt x="815" y="1271"/>
                  </a:lnTo>
                  <a:lnTo>
                    <a:pt x="833" y="1260"/>
                  </a:lnTo>
                  <a:lnTo>
                    <a:pt x="851" y="1248"/>
                  </a:lnTo>
                  <a:lnTo>
                    <a:pt x="867" y="1236"/>
                  </a:lnTo>
                  <a:lnTo>
                    <a:pt x="883" y="1223"/>
                  </a:lnTo>
                  <a:lnTo>
                    <a:pt x="899" y="1208"/>
                  </a:lnTo>
                  <a:lnTo>
                    <a:pt x="912" y="1193"/>
                  </a:lnTo>
                  <a:lnTo>
                    <a:pt x="925" y="1177"/>
                  </a:lnTo>
                  <a:lnTo>
                    <a:pt x="937" y="1161"/>
                  </a:lnTo>
                  <a:lnTo>
                    <a:pt x="949" y="1142"/>
                  </a:lnTo>
                  <a:lnTo>
                    <a:pt x="959" y="1123"/>
                  </a:lnTo>
                  <a:lnTo>
                    <a:pt x="967" y="1102"/>
                  </a:lnTo>
                  <a:lnTo>
                    <a:pt x="975" y="1081"/>
                  </a:lnTo>
                  <a:lnTo>
                    <a:pt x="981" y="1059"/>
                  </a:lnTo>
                  <a:lnTo>
                    <a:pt x="985" y="1036"/>
                  </a:lnTo>
                  <a:lnTo>
                    <a:pt x="989" y="1011"/>
                  </a:lnTo>
                  <a:lnTo>
                    <a:pt x="991" y="985"/>
                  </a:lnTo>
                  <a:lnTo>
                    <a:pt x="992" y="959"/>
                  </a:lnTo>
                  <a:lnTo>
                    <a:pt x="992" y="959"/>
                  </a:lnTo>
                  <a:lnTo>
                    <a:pt x="992" y="943"/>
                  </a:lnTo>
                  <a:lnTo>
                    <a:pt x="990" y="927"/>
                  </a:lnTo>
                  <a:lnTo>
                    <a:pt x="989" y="911"/>
                  </a:lnTo>
                  <a:lnTo>
                    <a:pt x="986" y="896"/>
                  </a:lnTo>
                  <a:lnTo>
                    <a:pt x="983" y="881"/>
                  </a:lnTo>
                  <a:lnTo>
                    <a:pt x="980" y="866"/>
                  </a:lnTo>
                  <a:lnTo>
                    <a:pt x="975" y="852"/>
                  </a:lnTo>
                  <a:lnTo>
                    <a:pt x="971" y="838"/>
                  </a:lnTo>
                  <a:lnTo>
                    <a:pt x="965" y="824"/>
                  </a:lnTo>
                  <a:lnTo>
                    <a:pt x="959" y="811"/>
                  </a:lnTo>
                  <a:lnTo>
                    <a:pt x="953" y="798"/>
                  </a:lnTo>
                  <a:lnTo>
                    <a:pt x="944" y="786"/>
                  </a:lnTo>
                  <a:lnTo>
                    <a:pt x="937" y="774"/>
                  </a:lnTo>
                  <a:lnTo>
                    <a:pt x="928" y="761"/>
                  </a:lnTo>
                  <a:lnTo>
                    <a:pt x="920" y="750"/>
                  </a:lnTo>
                  <a:lnTo>
                    <a:pt x="910" y="739"/>
                  </a:lnTo>
                  <a:lnTo>
                    <a:pt x="901" y="729"/>
                  </a:lnTo>
                  <a:lnTo>
                    <a:pt x="890" y="719"/>
                  </a:lnTo>
                  <a:lnTo>
                    <a:pt x="879" y="709"/>
                  </a:lnTo>
                  <a:lnTo>
                    <a:pt x="868" y="700"/>
                  </a:lnTo>
                  <a:lnTo>
                    <a:pt x="856" y="691"/>
                  </a:lnTo>
                  <a:lnTo>
                    <a:pt x="844" y="683"/>
                  </a:lnTo>
                  <a:lnTo>
                    <a:pt x="831" y="676"/>
                  </a:lnTo>
                  <a:lnTo>
                    <a:pt x="818" y="669"/>
                  </a:lnTo>
                  <a:lnTo>
                    <a:pt x="805" y="663"/>
                  </a:lnTo>
                  <a:lnTo>
                    <a:pt x="792" y="656"/>
                  </a:lnTo>
                  <a:lnTo>
                    <a:pt x="777" y="651"/>
                  </a:lnTo>
                  <a:lnTo>
                    <a:pt x="762" y="646"/>
                  </a:lnTo>
                  <a:lnTo>
                    <a:pt x="748" y="642"/>
                  </a:lnTo>
                  <a:lnTo>
                    <a:pt x="733" y="639"/>
                  </a:lnTo>
                  <a:lnTo>
                    <a:pt x="717" y="636"/>
                  </a:lnTo>
                  <a:lnTo>
                    <a:pt x="702" y="634"/>
                  </a:lnTo>
                  <a:lnTo>
                    <a:pt x="702" y="631"/>
                  </a:lnTo>
                  <a:lnTo>
                    <a:pt x="702" y="631"/>
                  </a:lnTo>
                  <a:lnTo>
                    <a:pt x="727" y="622"/>
                  </a:lnTo>
                  <a:lnTo>
                    <a:pt x="752" y="613"/>
                  </a:lnTo>
                  <a:lnTo>
                    <a:pt x="774" y="601"/>
                  </a:lnTo>
                  <a:lnTo>
                    <a:pt x="797" y="588"/>
                  </a:lnTo>
                  <a:lnTo>
                    <a:pt x="817" y="575"/>
                  </a:lnTo>
                  <a:lnTo>
                    <a:pt x="836" y="560"/>
                  </a:lnTo>
                  <a:lnTo>
                    <a:pt x="854" y="542"/>
                  </a:lnTo>
                  <a:lnTo>
                    <a:pt x="870" y="525"/>
                  </a:lnTo>
                  <a:lnTo>
                    <a:pt x="885" y="506"/>
                  </a:lnTo>
                  <a:lnTo>
                    <a:pt x="898" y="485"/>
                  </a:lnTo>
                  <a:lnTo>
                    <a:pt x="909" y="464"/>
                  </a:lnTo>
                  <a:lnTo>
                    <a:pt x="918" y="441"/>
                  </a:lnTo>
                  <a:lnTo>
                    <a:pt x="925" y="416"/>
                  </a:lnTo>
                  <a:lnTo>
                    <a:pt x="931" y="391"/>
                  </a:lnTo>
                  <a:lnTo>
                    <a:pt x="934" y="364"/>
                  </a:lnTo>
                  <a:lnTo>
                    <a:pt x="935" y="337"/>
                  </a:lnTo>
                  <a:lnTo>
                    <a:pt x="935" y="337"/>
                  </a:lnTo>
                  <a:lnTo>
                    <a:pt x="934" y="314"/>
                  </a:lnTo>
                  <a:lnTo>
                    <a:pt x="932" y="293"/>
                  </a:lnTo>
                  <a:lnTo>
                    <a:pt x="930" y="271"/>
                  </a:lnTo>
                  <a:lnTo>
                    <a:pt x="926" y="252"/>
                  </a:lnTo>
                  <a:lnTo>
                    <a:pt x="921" y="233"/>
                  </a:lnTo>
                  <a:lnTo>
                    <a:pt x="915" y="214"/>
                  </a:lnTo>
                  <a:lnTo>
                    <a:pt x="908" y="197"/>
                  </a:lnTo>
                  <a:lnTo>
                    <a:pt x="900" y="181"/>
                  </a:lnTo>
                  <a:lnTo>
                    <a:pt x="890" y="165"/>
                  </a:lnTo>
                  <a:lnTo>
                    <a:pt x="880" y="150"/>
                  </a:lnTo>
                  <a:lnTo>
                    <a:pt x="870" y="136"/>
                  </a:lnTo>
                  <a:lnTo>
                    <a:pt x="859" y="122"/>
                  </a:lnTo>
                  <a:lnTo>
                    <a:pt x="847" y="110"/>
                  </a:lnTo>
                  <a:lnTo>
                    <a:pt x="833" y="97"/>
                  </a:lnTo>
                  <a:lnTo>
                    <a:pt x="819" y="86"/>
                  </a:lnTo>
                  <a:lnTo>
                    <a:pt x="805" y="76"/>
                  </a:lnTo>
                  <a:lnTo>
                    <a:pt x="791" y="67"/>
                  </a:lnTo>
                  <a:lnTo>
                    <a:pt x="775" y="58"/>
                  </a:lnTo>
                  <a:lnTo>
                    <a:pt x="759" y="49"/>
                  </a:lnTo>
                  <a:lnTo>
                    <a:pt x="743" y="41"/>
                  </a:lnTo>
                  <a:lnTo>
                    <a:pt x="726" y="34"/>
                  </a:lnTo>
                  <a:lnTo>
                    <a:pt x="709" y="28"/>
                  </a:lnTo>
                  <a:lnTo>
                    <a:pt x="691" y="22"/>
                  </a:lnTo>
                  <a:lnTo>
                    <a:pt x="673" y="18"/>
                  </a:lnTo>
                  <a:lnTo>
                    <a:pt x="655" y="13"/>
                  </a:lnTo>
                  <a:lnTo>
                    <a:pt x="637" y="10"/>
                  </a:lnTo>
                  <a:lnTo>
                    <a:pt x="618" y="6"/>
                  </a:lnTo>
                  <a:lnTo>
                    <a:pt x="599" y="4"/>
                  </a:lnTo>
                  <a:lnTo>
                    <a:pt x="561" y="1"/>
                  </a:lnTo>
                  <a:lnTo>
                    <a:pt x="524" y="0"/>
                  </a:lnTo>
                  <a:lnTo>
                    <a:pt x="0" y="0"/>
                  </a:lnTo>
                  <a:lnTo>
                    <a:pt x="0" y="1342"/>
                  </a:lnTo>
                  <a:close/>
                  <a:moveTo>
                    <a:pt x="238" y="750"/>
                  </a:moveTo>
                  <a:lnTo>
                    <a:pt x="468" y="750"/>
                  </a:lnTo>
                  <a:lnTo>
                    <a:pt x="468" y="750"/>
                  </a:lnTo>
                  <a:lnTo>
                    <a:pt x="503" y="751"/>
                  </a:lnTo>
                  <a:lnTo>
                    <a:pt x="536" y="752"/>
                  </a:lnTo>
                  <a:lnTo>
                    <a:pt x="566" y="755"/>
                  </a:lnTo>
                  <a:lnTo>
                    <a:pt x="594" y="760"/>
                  </a:lnTo>
                  <a:lnTo>
                    <a:pt x="620" y="765"/>
                  </a:lnTo>
                  <a:lnTo>
                    <a:pt x="643" y="774"/>
                  </a:lnTo>
                  <a:lnTo>
                    <a:pt x="664" y="782"/>
                  </a:lnTo>
                  <a:lnTo>
                    <a:pt x="674" y="787"/>
                  </a:lnTo>
                  <a:lnTo>
                    <a:pt x="683" y="792"/>
                  </a:lnTo>
                  <a:lnTo>
                    <a:pt x="692" y="798"/>
                  </a:lnTo>
                  <a:lnTo>
                    <a:pt x="700" y="804"/>
                  </a:lnTo>
                  <a:lnTo>
                    <a:pt x="707" y="811"/>
                  </a:lnTo>
                  <a:lnTo>
                    <a:pt x="714" y="818"/>
                  </a:lnTo>
                  <a:lnTo>
                    <a:pt x="720" y="825"/>
                  </a:lnTo>
                  <a:lnTo>
                    <a:pt x="725" y="834"/>
                  </a:lnTo>
                  <a:lnTo>
                    <a:pt x="731" y="842"/>
                  </a:lnTo>
                  <a:lnTo>
                    <a:pt x="736" y="851"/>
                  </a:lnTo>
                  <a:lnTo>
                    <a:pt x="740" y="860"/>
                  </a:lnTo>
                  <a:lnTo>
                    <a:pt x="743" y="870"/>
                  </a:lnTo>
                  <a:lnTo>
                    <a:pt x="746" y="880"/>
                  </a:lnTo>
                  <a:lnTo>
                    <a:pt x="749" y="892"/>
                  </a:lnTo>
                  <a:lnTo>
                    <a:pt x="752" y="915"/>
                  </a:lnTo>
                  <a:lnTo>
                    <a:pt x="753" y="940"/>
                  </a:lnTo>
                  <a:lnTo>
                    <a:pt x="753" y="940"/>
                  </a:lnTo>
                  <a:lnTo>
                    <a:pt x="752" y="956"/>
                  </a:lnTo>
                  <a:lnTo>
                    <a:pt x="751" y="971"/>
                  </a:lnTo>
                  <a:lnTo>
                    <a:pt x="749" y="985"/>
                  </a:lnTo>
                  <a:lnTo>
                    <a:pt x="746" y="999"/>
                  </a:lnTo>
                  <a:lnTo>
                    <a:pt x="742" y="1012"/>
                  </a:lnTo>
                  <a:lnTo>
                    <a:pt x="737" y="1024"/>
                  </a:lnTo>
                  <a:lnTo>
                    <a:pt x="731" y="1035"/>
                  </a:lnTo>
                  <a:lnTo>
                    <a:pt x="724" y="1045"/>
                  </a:lnTo>
                  <a:lnTo>
                    <a:pt x="717" y="1055"/>
                  </a:lnTo>
                  <a:lnTo>
                    <a:pt x="709" y="1064"/>
                  </a:lnTo>
                  <a:lnTo>
                    <a:pt x="701" y="1072"/>
                  </a:lnTo>
                  <a:lnTo>
                    <a:pt x="693" y="1080"/>
                  </a:lnTo>
                  <a:lnTo>
                    <a:pt x="683" y="1087"/>
                  </a:lnTo>
                  <a:lnTo>
                    <a:pt x="673" y="1093"/>
                  </a:lnTo>
                  <a:lnTo>
                    <a:pt x="663" y="1099"/>
                  </a:lnTo>
                  <a:lnTo>
                    <a:pt x="652" y="1105"/>
                  </a:lnTo>
                  <a:lnTo>
                    <a:pt x="630" y="1114"/>
                  </a:lnTo>
                  <a:lnTo>
                    <a:pt x="606" y="1121"/>
                  </a:lnTo>
                  <a:lnTo>
                    <a:pt x="582" y="1127"/>
                  </a:lnTo>
                  <a:lnTo>
                    <a:pt x="557" y="1131"/>
                  </a:lnTo>
                  <a:lnTo>
                    <a:pt x="532" y="1134"/>
                  </a:lnTo>
                  <a:lnTo>
                    <a:pt x="507" y="1136"/>
                  </a:lnTo>
                  <a:lnTo>
                    <a:pt x="483" y="1137"/>
                  </a:lnTo>
                  <a:lnTo>
                    <a:pt x="458" y="1137"/>
                  </a:lnTo>
                  <a:lnTo>
                    <a:pt x="238" y="1137"/>
                  </a:lnTo>
                  <a:lnTo>
                    <a:pt x="238" y="7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Rectangle 26"/>
            <p:cNvSpPr>
              <a:spLocks noChangeArrowheads="1"/>
            </p:cNvSpPr>
            <p:nvPr/>
          </p:nvSpPr>
          <p:spPr bwMode="auto">
            <a:xfrm>
              <a:off x="1033463" y="4995863"/>
              <a:ext cx="180975" cy="1090612"/>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7"/>
            <p:cNvSpPr>
              <a:spLocks noEditPoints="1"/>
            </p:cNvSpPr>
            <p:nvPr/>
          </p:nvSpPr>
          <p:spPr bwMode="auto">
            <a:xfrm>
              <a:off x="1335088" y="5346700"/>
              <a:ext cx="785812" cy="758825"/>
            </a:xfrm>
            <a:custGeom>
              <a:avLst/>
              <a:gdLst/>
              <a:ahLst/>
              <a:cxnLst>
                <a:cxn ang="0">
                  <a:pos x="444" y="2"/>
                </a:cxn>
                <a:cxn ang="0">
                  <a:pos x="348" y="19"/>
                </a:cxn>
                <a:cxn ang="0">
                  <a:pos x="259" y="53"/>
                </a:cxn>
                <a:cxn ang="0">
                  <a:pos x="180" y="102"/>
                </a:cxn>
                <a:cxn ang="0">
                  <a:pos x="112" y="164"/>
                </a:cxn>
                <a:cxn ang="0">
                  <a:pos x="59" y="240"/>
                </a:cxn>
                <a:cxn ang="0">
                  <a:pos x="23" y="327"/>
                </a:cxn>
                <a:cxn ang="0">
                  <a:pos x="3" y="425"/>
                </a:cxn>
                <a:cxn ang="0">
                  <a:pos x="1" y="504"/>
                </a:cxn>
                <a:cxn ang="0">
                  <a:pos x="16" y="605"/>
                </a:cxn>
                <a:cxn ang="0">
                  <a:pos x="49" y="694"/>
                </a:cxn>
                <a:cxn ang="0">
                  <a:pos x="98" y="773"/>
                </a:cxn>
                <a:cxn ang="0">
                  <a:pos x="162" y="839"/>
                </a:cxn>
                <a:cxn ang="0">
                  <a:pos x="238" y="892"/>
                </a:cxn>
                <a:cxn ang="0">
                  <a:pos x="324" y="929"/>
                </a:cxn>
                <a:cxn ang="0">
                  <a:pos x="420" y="950"/>
                </a:cxn>
                <a:cxn ang="0">
                  <a:pos x="495" y="955"/>
                </a:cxn>
                <a:cxn ang="0">
                  <a:pos x="596" y="947"/>
                </a:cxn>
                <a:cxn ang="0">
                  <a:pos x="689" y="922"/>
                </a:cxn>
                <a:cxn ang="0">
                  <a:pos x="774" y="880"/>
                </a:cxn>
                <a:cxn ang="0">
                  <a:pos x="846" y="824"/>
                </a:cxn>
                <a:cxn ang="0">
                  <a:pos x="907" y="755"/>
                </a:cxn>
                <a:cxn ang="0">
                  <a:pos x="952" y="673"/>
                </a:cxn>
                <a:cxn ang="0">
                  <a:pos x="980" y="580"/>
                </a:cxn>
                <a:cxn ang="0">
                  <a:pos x="991" y="478"/>
                </a:cxn>
                <a:cxn ang="0">
                  <a:pos x="985" y="399"/>
                </a:cxn>
                <a:cxn ang="0">
                  <a:pos x="961" y="304"/>
                </a:cxn>
                <a:cxn ang="0">
                  <a:pos x="919" y="220"/>
                </a:cxn>
                <a:cxn ang="0">
                  <a:pos x="862" y="148"/>
                </a:cxn>
                <a:cxn ang="0">
                  <a:pos x="793" y="88"/>
                </a:cxn>
                <a:cxn ang="0">
                  <a:pos x="711" y="43"/>
                </a:cxn>
                <a:cxn ang="0">
                  <a:pos x="620" y="13"/>
                </a:cxn>
                <a:cxn ang="0">
                  <a:pos x="521" y="0"/>
                </a:cxn>
                <a:cxn ang="0">
                  <a:pos x="495" y="751"/>
                </a:cxn>
                <a:cxn ang="0">
                  <a:pos x="436" y="745"/>
                </a:cxn>
                <a:cxn ang="0">
                  <a:pos x="383" y="728"/>
                </a:cxn>
                <a:cxn ang="0">
                  <a:pos x="338" y="702"/>
                </a:cxn>
                <a:cxn ang="0">
                  <a:pos x="299" y="668"/>
                </a:cxn>
                <a:cxn ang="0">
                  <a:pos x="268" y="626"/>
                </a:cxn>
                <a:cxn ang="0">
                  <a:pos x="233" y="531"/>
                </a:cxn>
                <a:cxn ang="0">
                  <a:pos x="230" y="451"/>
                </a:cxn>
                <a:cxn ang="0">
                  <a:pos x="256" y="351"/>
                </a:cxn>
                <a:cxn ang="0">
                  <a:pos x="291" y="297"/>
                </a:cxn>
                <a:cxn ang="0">
                  <a:pos x="327" y="262"/>
                </a:cxn>
                <a:cxn ang="0">
                  <a:pos x="371" y="233"/>
                </a:cxn>
                <a:cxn ang="0">
                  <a:pos x="422" y="214"/>
                </a:cxn>
                <a:cxn ang="0">
                  <a:pos x="480" y="205"/>
                </a:cxn>
                <a:cxn ang="0">
                  <a:pos x="526" y="206"/>
                </a:cxn>
                <a:cxn ang="0">
                  <a:pos x="582" y="218"/>
                </a:cxn>
                <a:cxn ang="0">
                  <a:pos x="632" y="239"/>
                </a:cxn>
                <a:cxn ang="0">
                  <a:pos x="674" y="270"/>
                </a:cxn>
                <a:cxn ang="0">
                  <a:pos x="708" y="308"/>
                </a:cxn>
                <a:cxn ang="0">
                  <a:pos x="745" y="375"/>
                </a:cxn>
                <a:cxn ang="0">
                  <a:pos x="763" y="478"/>
                </a:cxn>
                <a:cxn ang="0">
                  <a:pos x="752" y="556"/>
                </a:cxn>
                <a:cxn ang="0">
                  <a:pos x="716" y="637"/>
                </a:cxn>
                <a:cxn ang="0">
                  <a:pos x="683" y="677"/>
                </a:cxn>
                <a:cxn ang="0">
                  <a:pos x="643" y="710"/>
                </a:cxn>
                <a:cxn ang="0">
                  <a:pos x="595" y="733"/>
                </a:cxn>
                <a:cxn ang="0">
                  <a:pos x="541" y="747"/>
                </a:cxn>
                <a:cxn ang="0">
                  <a:pos x="495" y="751"/>
                </a:cxn>
              </a:cxnLst>
              <a:rect l="0" t="0" r="r" b="b"/>
              <a:pathLst>
                <a:path w="991" h="955">
                  <a:moveTo>
                    <a:pt x="495" y="0"/>
                  </a:moveTo>
                  <a:lnTo>
                    <a:pt x="495" y="0"/>
                  </a:lnTo>
                  <a:lnTo>
                    <a:pt x="470" y="0"/>
                  </a:lnTo>
                  <a:lnTo>
                    <a:pt x="444" y="2"/>
                  </a:lnTo>
                  <a:lnTo>
                    <a:pt x="420" y="5"/>
                  </a:lnTo>
                  <a:lnTo>
                    <a:pt x="396" y="8"/>
                  </a:lnTo>
                  <a:lnTo>
                    <a:pt x="371" y="13"/>
                  </a:lnTo>
                  <a:lnTo>
                    <a:pt x="348" y="19"/>
                  </a:lnTo>
                  <a:lnTo>
                    <a:pt x="324" y="26"/>
                  </a:lnTo>
                  <a:lnTo>
                    <a:pt x="302" y="35"/>
                  </a:lnTo>
                  <a:lnTo>
                    <a:pt x="280" y="43"/>
                  </a:lnTo>
                  <a:lnTo>
                    <a:pt x="259" y="53"/>
                  </a:lnTo>
                  <a:lnTo>
                    <a:pt x="238" y="64"/>
                  </a:lnTo>
                  <a:lnTo>
                    <a:pt x="218" y="75"/>
                  </a:lnTo>
                  <a:lnTo>
                    <a:pt x="199" y="88"/>
                  </a:lnTo>
                  <a:lnTo>
                    <a:pt x="180" y="102"/>
                  </a:lnTo>
                  <a:lnTo>
                    <a:pt x="162" y="116"/>
                  </a:lnTo>
                  <a:lnTo>
                    <a:pt x="145" y="131"/>
                  </a:lnTo>
                  <a:lnTo>
                    <a:pt x="129" y="148"/>
                  </a:lnTo>
                  <a:lnTo>
                    <a:pt x="112" y="164"/>
                  </a:lnTo>
                  <a:lnTo>
                    <a:pt x="98" y="182"/>
                  </a:lnTo>
                  <a:lnTo>
                    <a:pt x="85" y="201"/>
                  </a:lnTo>
                  <a:lnTo>
                    <a:pt x="72" y="220"/>
                  </a:lnTo>
                  <a:lnTo>
                    <a:pt x="59" y="240"/>
                  </a:lnTo>
                  <a:lnTo>
                    <a:pt x="49" y="261"/>
                  </a:lnTo>
                  <a:lnTo>
                    <a:pt x="39" y="282"/>
                  </a:lnTo>
                  <a:lnTo>
                    <a:pt x="30" y="304"/>
                  </a:lnTo>
                  <a:lnTo>
                    <a:pt x="23" y="327"/>
                  </a:lnTo>
                  <a:lnTo>
                    <a:pt x="16" y="350"/>
                  </a:lnTo>
                  <a:lnTo>
                    <a:pt x="10" y="375"/>
                  </a:lnTo>
                  <a:lnTo>
                    <a:pt x="6" y="399"/>
                  </a:lnTo>
                  <a:lnTo>
                    <a:pt x="3" y="425"/>
                  </a:lnTo>
                  <a:lnTo>
                    <a:pt x="1" y="451"/>
                  </a:lnTo>
                  <a:lnTo>
                    <a:pt x="0" y="478"/>
                  </a:lnTo>
                  <a:lnTo>
                    <a:pt x="0" y="478"/>
                  </a:lnTo>
                  <a:lnTo>
                    <a:pt x="1" y="504"/>
                  </a:lnTo>
                  <a:lnTo>
                    <a:pt x="3" y="531"/>
                  </a:lnTo>
                  <a:lnTo>
                    <a:pt x="6" y="556"/>
                  </a:lnTo>
                  <a:lnTo>
                    <a:pt x="10" y="580"/>
                  </a:lnTo>
                  <a:lnTo>
                    <a:pt x="16" y="605"/>
                  </a:lnTo>
                  <a:lnTo>
                    <a:pt x="23" y="628"/>
                  </a:lnTo>
                  <a:lnTo>
                    <a:pt x="30" y="651"/>
                  </a:lnTo>
                  <a:lnTo>
                    <a:pt x="39" y="673"/>
                  </a:lnTo>
                  <a:lnTo>
                    <a:pt x="49" y="694"/>
                  </a:lnTo>
                  <a:lnTo>
                    <a:pt x="59" y="716"/>
                  </a:lnTo>
                  <a:lnTo>
                    <a:pt x="72" y="735"/>
                  </a:lnTo>
                  <a:lnTo>
                    <a:pt x="85" y="755"/>
                  </a:lnTo>
                  <a:lnTo>
                    <a:pt x="98" y="773"/>
                  </a:lnTo>
                  <a:lnTo>
                    <a:pt x="112" y="791"/>
                  </a:lnTo>
                  <a:lnTo>
                    <a:pt x="129" y="808"/>
                  </a:lnTo>
                  <a:lnTo>
                    <a:pt x="145" y="824"/>
                  </a:lnTo>
                  <a:lnTo>
                    <a:pt x="162" y="839"/>
                  </a:lnTo>
                  <a:lnTo>
                    <a:pt x="180" y="853"/>
                  </a:lnTo>
                  <a:lnTo>
                    <a:pt x="199" y="868"/>
                  </a:lnTo>
                  <a:lnTo>
                    <a:pt x="218" y="880"/>
                  </a:lnTo>
                  <a:lnTo>
                    <a:pt x="238" y="892"/>
                  </a:lnTo>
                  <a:lnTo>
                    <a:pt x="259" y="902"/>
                  </a:lnTo>
                  <a:lnTo>
                    <a:pt x="280" y="912"/>
                  </a:lnTo>
                  <a:lnTo>
                    <a:pt x="302" y="922"/>
                  </a:lnTo>
                  <a:lnTo>
                    <a:pt x="324" y="929"/>
                  </a:lnTo>
                  <a:lnTo>
                    <a:pt x="348" y="936"/>
                  </a:lnTo>
                  <a:lnTo>
                    <a:pt x="371" y="942"/>
                  </a:lnTo>
                  <a:lnTo>
                    <a:pt x="396" y="947"/>
                  </a:lnTo>
                  <a:lnTo>
                    <a:pt x="420" y="950"/>
                  </a:lnTo>
                  <a:lnTo>
                    <a:pt x="444" y="953"/>
                  </a:lnTo>
                  <a:lnTo>
                    <a:pt x="470" y="955"/>
                  </a:lnTo>
                  <a:lnTo>
                    <a:pt x="495" y="955"/>
                  </a:lnTo>
                  <a:lnTo>
                    <a:pt x="495" y="955"/>
                  </a:lnTo>
                  <a:lnTo>
                    <a:pt x="521" y="955"/>
                  </a:lnTo>
                  <a:lnTo>
                    <a:pt x="546" y="953"/>
                  </a:lnTo>
                  <a:lnTo>
                    <a:pt x="572" y="950"/>
                  </a:lnTo>
                  <a:lnTo>
                    <a:pt x="596" y="947"/>
                  </a:lnTo>
                  <a:lnTo>
                    <a:pt x="620" y="942"/>
                  </a:lnTo>
                  <a:lnTo>
                    <a:pt x="643" y="936"/>
                  </a:lnTo>
                  <a:lnTo>
                    <a:pt x="667" y="929"/>
                  </a:lnTo>
                  <a:lnTo>
                    <a:pt x="689" y="922"/>
                  </a:lnTo>
                  <a:lnTo>
                    <a:pt x="711" y="912"/>
                  </a:lnTo>
                  <a:lnTo>
                    <a:pt x="733" y="902"/>
                  </a:lnTo>
                  <a:lnTo>
                    <a:pt x="753" y="892"/>
                  </a:lnTo>
                  <a:lnTo>
                    <a:pt x="774" y="880"/>
                  </a:lnTo>
                  <a:lnTo>
                    <a:pt x="793" y="868"/>
                  </a:lnTo>
                  <a:lnTo>
                    <a:pt x="811" y="853"/>
                  </a:lnTo>
                  <a:lnTo>
                    <a:pt x="830" y="839"/>
                  </a:lnTo>
                  <a:lnTo>
                    <a:pt x="846" y="824"/>
                  </a:lnTo>
                  <a:lnTo>
                    <a:pt x="862" y="808"/>
                  </a:lnTo>
                  <a:lnTo>
                    <a:pt x="879" y="791"/>
                  </a:lnTo>
                  <a:lnTo>
                    <a:pt x="893" y="773"/>
                  </a:lnTo>
                  <a:lnTo>
                    <a:pt x="907" y="755"/>
                  </a:lnTo>
                  <a:lnTo>
                    <a:pt x="919" y="735"/>
                  </a:lnTo>
                  <a:lnTo>
                    <a:pt x="931" y="716"/>
                  </a:lnTo>
                  <a:lnTo>
                    <a:pt x="942" y="694"/>
                  </a:lnTo>
                  <a:lnTo>
                    <a:pt x="952" y="673"/>
                  </a:lnTo>
                  <a:lnTo>
                    <a:pt x="961" y="651"/>
                  </a:lnTo>
                  <a:lnTo>
                    <a:pt x="968" y="628"/>
                  </a:lnTo>
                  <a:lnTo>
                    <a:pt x="975" y="605"/>
                  </a:lnTo>
                  <a:lnTo>
                    <a:pt x="980" y="580"/>
                  </a:lnTo>
                  <a:lnTo>
                    <a:pt x="985" y="556"/>
                  </a:lnTo>
                  <a:lnTo>
                    <a:pt x="989" y="531"/>
                  </a:lnTo>
                  <a:lnTo>
                    <a:pt x="990" y="504"/>
                  </a:lnTo>
                  <a:lnTo>
                    <a:pt x="991" y="478"/>
                  </a:lnTo>
                  <a:lnTo>
                    <a:pt x="991" y="478"/>
                  </a:lnTo>
                  <a:lnTo>
                    <a:pt x="990" y="451"/>
                  </a:lnTo>
                  <a:lnTo>
                    <a:pt x="989" y="425"/>
                  </a:lnTo>
                  <a:lnTo>
                    <a:pt x="985" y="399"/>
                  </a:lnTo>
                  <a:lnTo>
                    <a:pt x="980" y="375"/>
                  </a:lnTo>
                  <a:lnTo>
                    <a:pt x="975" y="350"/>
                  </a:lnTo>
                  <a:lnTo>
                    <a:pt x="968" y="327"/>
                  </a:lnTo>
                  <a:lnTo>
                    <a:pt x="961" y="304"/>
                  </a:lnTo>
                  <a:lnTo>
                    <a:pt x="952" y="282"/>
                  </a:lnTo>
                  <a:lnTo>
                    <a:pt x="942" y="261"/>
                  </a:lnTo>
                  <a:lnTo>
                    <a:pt x="931" y="240"/>
                  </a:lnTo>
                  <a:lnTo>
                    <a:pt x="919" y="220"/>
                  </a:lnTo>
                  <a:lnTo>
                    <a:pt x="907" y="201"/>
                  </a:lnTo>
                  <a:lnTo>
                    <a:pt x="893" y="182"/>
                  </a:lnTo>
                  <a:lnTo>
                    <a:pt x="879" y="164"/>
                  </a:lnTo>
                  <a:lnTo>
                    <a:pt x="862" y="148"/>
                  </a:lnTo>
                  <a:lnTo>
                    <a:pt x="846" y="131"/>
                  </a:lnTo>
                  <a:lnTo>
                    <a:pt x="830" y="116"/>
                  </a:lnTo>
                  <a:lnTo>
                    <a:pt x="811" y="102"/>
                  </a:lnTo>
                  <a:lnTo>
                    <a:pt x="793" y="88"/>
                  </a:lnTo>
                  <a:lnTo>
                    <a:pt x="774" y="75"/>
                  </a:lnTo>
                  <a:lnTo>
                    <a:pt x="753" y="64"/>
                  </a:lnTo>
                  <a:lnTo>
                    <a:pt x="733" y="53"/>
                  </a:lnTo>
                  <a:lnTo>
                    <a:pt x="711" y="43"/>
                  </a:lnTo>
                  <a:lnTo>
                    <a:pt x="689" y="35"/>
                  </a:lnTo>
                  <a:lnTo>
                    <a:pt x="667" y="26"/>
                  </a:lnTo>
                  <a:lnTo>
                    <a:pt x="643" y="19"/>
                  </a:lnTo>
                  <a:lnTo>
                    <a:pt x="620" y="13"/>
                  </a:lnTo>
                  <a:lnTo>
                    <a:pt x="596" y="8"/>
                  </a:lnTo>
                  <a:lnTo>
                    <a:pt x="572" y="5"/>
                  </a:lnTo>
                  <a:lnTo>
                    <a:pt x="546" y="2"/>
                  </a:lnTo>
                  <a:lnTo>
                    <a:pt x="521" y="0"/>
                  </a:lnTo>
                  <a:lnTo>
                    <a:pt x="495" y="0"/>
                  </a:lnTo>
                  <a:lnTo>
                    <a:pt x="495" y="0"/>
                  </a:lnTo>
                  <a:close/>
                  <a:moveTo>
                    <a:pt x="495" y="751"/>
                  </a:moveTo>
                  <a:lnTo>
                    <a:pt x="495" y="751"/>
                  </a:lnTo>
                  <a:lnTo>
                    <a:pt x="480" y="751"/>
                  </a:lnTo>
                  <a:lnTo>
                    <a:pt x="465" y="749"/>
                  </a:lnTo>
                  <a:lnTo>
                    <a:pt x="451" y="747"/>
                  </a:lnTo>
                  <a:lnTo>
                    <a:pt x="436" y="745"/>
                  </a:lnTo>
                  <a:lnTo>
                    <a:pt x="422" y="741"/>
                  </a:lnTo>
                  <a:lnTo>
                    <a:pt x="409" y="738"/>
                  </a:lnTo>
                  <a:lnTo>
                    <a:pt x="396" y="733"/>
                  </a:lnTo>
                  <a:lnTo>
                    <a:pt x="383" y="728"/>
                  </a:lnTo>
                  <a:lnTo>
                    <a:pt x="371" y="723"/>
                  </a:lnTo>
                  <a:lnTo>
                    <a:pt x="360" y="716"/>
                  </a:lnTo>
                  <a:lnTo>
                    <a:pt x="348" y="710"/>
                  </a:lnTo>
                  <a:lnTo>
                    <a:pt x="338" y="702"/>
                  </a:lnTo>
                  <a:lnTo>
                    <a:pt x="327" y="694"/>
                  </a:lnTo>
                  <a:lnTo>
                    <a:pt x="317" y="685"/>
                  </a:lnTo>
                  <a:lnTo>
                    <a:pt x="308" y="677"/>
                  </a:lnTo>
                  <a:lnTo>
                    <a:pt x="299" y="668"/>
                  </a:lnTo>
                  <a:lnTo>
                    <a:pt x="291" y="658"/>
                  </a:lnTo>
                  <a:lnTo>
                    <a:pt x="282" y="648"/>
                  </a:lnTo>
                  <a:lnTo>
                    <a:pt x="275" y="637"/>
                  </a:lnTo>
                  <a:lnTo>
                    <a:pt x="268" y="626"/>
                  </a:lnTo>
                  <a:lnTo>
                    <a:pt x="256" y="604"/>
                  </a:lnTo>
                  <a:lnTo>
                    <a:pt x="246" y="580"/>
                  </a:lnTo>
                  <a:lnTo>
                    <a:pt x="239" y="556"/>
                  </a:lnTo>
                  <a:lnTo>
                    <a:pt x="233" y="531"/>
                  </a:lnTo>
                  <a:lnTo>
                    <a:pt x="230" y="504"/>
                  </a:lnTo>
                  <a:lnTo>
                    <a:pt x="227" y="478"/>
                  </a:lnTo>
                  <a:lnTo>
                    <a:pt x="227" y="478"/>
                  </a:lnTo>
                  <a:lnTo>
                    <a:pt x="230" y="451"/>
                  </a:lnTo>
                  <a:lnTo>
                    <a:pt x="233" y="425"/>
                  </a:lnTo>
                  <a:lnTo>
                    <a:pt x="239" y="399"/>
                  </a:lnTo>
                  <a:lnTo>
                    <a:pt x="246" y="375"/>
                  </a:lnTo>
                  <a:lnTo>
                    <a:pt x="256" y="351"/>
                  </a:lnTo>
                  <a:lnTo>
                    <a:pt x="268" y="329"/>
                  </a:lnTo>
                  <a:lnTo>
                    <a:pt x="275" y="318"/>
                  </a:lnTo>
                  <a:lnTo>
                    <a:pt x="282" y="308"/>
                  </a:lnTo>
                  <a:lnTo>
                    <a:pt x="291" y="297"/>
                  </a:lnTo>
                  <a:lnTo>
                    <a:pt x="299" y="288"/>
                  </a:lnTo>
                  <a:lnTo>
                    <a:pt x="308" y="279"/>
                  </a:lnTo>
                  <a:lnTo>
                    <a:pt x="317" y="270"/>
                  </a:lnTo>
                  <a:lnTo>
                    <a:pt x="327" y="262"/>
                  </a:lnTo>
                  <a:lnTo>
                    <a:pt x="338" y="254"/>
                  </a:lnTo>
                  <a:lnTo>
                    <a:pt x="348" y="246"/>
                  </a:lnTo>
                  <a:lnTo>
                    <a:pt x="360" y="239"/>
                  </a:lnTo>
                  <a:lnTo>
                    <a:pt x="371" y="233"/>
                  </a:lnTo>
                  <a:lnTo>
                    <a:pt x="383" y="227"/>
                  </a:lnTo>
                  <a:lnTo>
                    <a:pt x="396" y="222"/>
                  </a:lnTo>
                  <a:lnTo>
                    <a:pt x="409" y="218"/>
                  </a:lnTo>
                  <a:lnTo>
                    <a:pt x="422" y="214"/>
                  </a:lnTo>
                  <a:lnTo>
                    <a:pt x="436" y="211"/>
                  </a:lnTo>
                  <a:lnTo>
                    <a:pt x="451" y="208"/>
                  </a:lnTo>
                  <a:lnTo>
                    <a:pt x="465" y="206"/>
                  </a:lnTo>
                  <a:lnTo>
                    <a:pt x="480" y="205"/>
                  </a:lnTo>
                  <a:lnTo>
                    <a:pt x="495" y="205"/>
                  </a:lnTo>
                  <a:lnTo>
                    <a:pt x="495" y="205"/>
                  </a:lnTo>
                  <a:lnTo>
                    <a:pt x="511" y="205"/>
                  </a:lnTo>
                  <a:lnTo>
                    <a:pt x="526" y="206"/>
                  </a:lnTo>
                  <a:lnTo>
                    <a:pt x="541" y="208"/>
                  </a:lnTo>
                  <a:lnTo>
                    <a:pt x="555" y="211"/>
                  </a:lnTo>
                  <a:lnTo>
                    <a:pt x="569" y="214"/>
                  </a:lnTo>
                  <a:lnTo>
                    <a:pt x="582" y="218"/>
                  </a:lnTo>
                  <a:lnTo>
                    <a:pt x="595" y="222"/>
                  </a:lnTo>
                  <a:lnTo>
                    <a:pt x="608" y="227"/>
                  </a:lnTo>
                  <a:lnTo>
                    <a:pt x="620" y="233"/>
                  </a:lnTo>
                  <a:lnTo>
                    <a:pt x="632" y="239"/>
                  </a:lnTo>
                  <a:lnTo>
                    <a:pt x="643" y="246"/>
                  </a:lnTo>
                  <a:lnTo>
                    <a:pt x="653" y="254"/>
                  </a:lnTo>
                  <a:lnTo>
                    <a:pt x="664" y="262"/>
                  </a:lnTo>
                  <a:lnTo>
                    <a:pt x="674" y="270"/>
                  </a:lnTo>
                  <a:lnTo>
                    <a:pt x="683" y="279"/>
                  </a:lnTo>
                  <a:lnTo>
                    <a:pt x="692" y="288"/>
                  </a:lnTo>
                  <a:lnTo>
                    <a:pt x="700" y="297"/>
                  </a:lnTo>
                  <a:lnTo>
                    <a:pt x="708" y="308"/>
                  </a:lnTo>
                  <a:lnTo>
                    <a:pt x="716" y="318"/>
                  </a:lnTo>
                  <a:lnTo>
                    <a:pt x="723" y="329"/>
                  </a:lnTo>
                  <a:lnTo>
                    <a:pt x="735" y="351"/>
                  </a:lnTo>
                  <a:lnTo>
                    <a:pt x="745" y="375"/>
                  </a:lnTo>
                  <a:lnTo>
                    <a:pt x="752" y="399"/>
                  </a:lnTo>
                  <a:lnTo>
                    <a:pt x="758" y="425"/>
                  </a:lnTo>
                  <a:lnTo>
                    <a:pt x="761" y="451"/>
                  </a:lnTo>
                  <a:lnTo>
                    <a:pt x="763" y="478"/>
                  </a:lnTo>
                  <a:lnTo>
                    <a:pt x="763" y="478"/>
                  </a:lnTo>
                  <a:lnTo>
                    <a:pt x="761" y="504"/>
                  </a:lnTo>
                  <a:lnTo>
                    <a:pt x="758" y="531"/>
                  </a:lnTo>
                  <a:lnTo>
                    <a:pt x="752" y="556"/>
                  </a:lnTo>
                  <a:lnTo>
                    <a:pt x="745" y="580"/>
                  </a:lnTo>
                  <a:lnTo>
                    <a:pt x="735" y="604"/>
                  </a:lnTo>
                  <a:lnTo>
                    <a:pt x="723" y="626"/>
                  </a:lnTo>
                  <a:lnTo>
                    <a:pt x="716" y="637"/>
                  </a:lnTo>
                  <a:lnTo>
                    <a:pt x="708" y="648"/>
                  </a:lnTo>
                  <a:lnTo>
                    <a:pt x="700" y="658"/>
                  </a:lnTo>
                  <a:lnTo>
                    <a:pt x="692" y="668"/>
                  </a:lnTo>
                  <a:lnTo>
                    <a:pt x="683" y="677"/>
                  </a:lnTo>
                  <a:lnTo>
                    <a:pt x="674" y="685"/>
                  </a:lnTo>
                  <a:lnTo>
                    <a:pt x="664" y="694"/>
                  </a:lnTo>
                  <a:lnTo>
                    <a:pt x="653" y="702"/>
                  </a:lnTo>
                  <a:lnTo>
                    <a:pt x="643" y="710"/>
                  </a:lnTo>
                  <a:lnTo>
                    <a:pt x="632" y="716"/>
                  </a:lnTo>
                  <a:lnTo>
                    <a:pt x="620" y="723"/>
                  </a:lnTo>
                  <a:lnTo>
                    <a:pt x="608" y="728"/>
                  </a:lnTo>
                  <a:lnTo>
                    <a:pt x="595" y="733"/>
                  </a:lnTo>
                  <a:lnTo>
                    <a:pt x="582" y="738"/>
                  </a:lnTo>
                  <a:lnTo>
                    <a:pt x="569" y="741"/>
                  </a:lnTo>
                  <a:lnTo>
                    <a:pt x="555" y="745"/>
                  </a:lnTo>
                  <a:lnTo>
                    <a:pt x="541" y="747"/>
                  </a:lnTo>
                  <a:lnTo>
                    <a:pt x="526" y="749"/>
                  </a:lnTo>
                  <a:lnTo>
                    <a:pt x="511" y="751"/>
                  </a:lnTo>
                  <a:lnTo>
                    <a:pt x="495" y="751"/>
                  </a:lnTo>
                  <a:lnTo>
                    <a:pt x="495" y="75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28"/>
            <p:cNvSpPr>
              <a:spLocks noEditPoints="1"/>
            </p:cNvSpPr>
            <p:nvPr/>
          </p:nvSpPr>
          <p:spPr bwMode="auto">
            <a:xfrm>
              <a:off x="2203450" y="5346700"/>
              <a:ext cx="785812" cy="758825"/>
            </a:xfrm>
            <a:custGeom>
              <a:avLst/>
              <a:gdLst/>
              <a:ahLst/>
              <a:cxnLst>
                <a:cxn ang="0">
                  <a:pos x="445" y="2"/>
                </a:cxn>
                <a:cxn ang="0">
                  <a:pos x="348" y="19"/>
                </a:cxn>
                <a:cxn ang="0">
                  <a:pos x="259" y="53"/>
                </a:cxn>
                <a:cxn ang="0">
                  <a:pos x="180" y="102"/>
                </a:cxn>
                <a:cxn ang="0">
                  <a:pos x="114" y="164"/>
                </a:cxn>
                <a:cxn ang="0">
                  <a:pos x="60" y="240"/>
                </a:cxn>
                <a:cxn ang="0">
                  <a:pos x="23" y="327"/>
                </a:cxn>
                <a:cxn ang="0">
                  <a:pos x="4" y="425"/>
                </a:cxn>
                <a:cxn ang="0">
                  <a:pos x="2" y="504"/>
                </a:cxn>
                <a:cxn ang="0">
                  <a:pos x="16" y="605"/>
                </a:cxn>
                <a:cxn ang="0">
                  <a:pos x="49" y="694"/>
                </a:cxn>
                <a:cxn ang="0">
                  <a:pos x="98" y="773"/>
                </a:cxn>
                <a:cxn ang="0">
                  <a:pos x="162" y="839"/>
                </a:cxn>
                <a:cxn ang="0">
                  <a:pos x="239" y="892"/>
                </a:cxn>
                <a:cxn ang="0">
                  <a:pos x="326" y="929"/>
                </a:cxn>
                <a:cxn ang="0">
                  <a:pos x="420" y="950"/>
                </a:cxn>
                <a:cxn ang="0">
                  <a:pos x="496" y="955"/>
                </a:cxn>
                <a:cxn ang="0">
                  <a:pos x="597" y="947"/>
                </a:cxn>
                <a:cxn ang="0">
                  <a:pos x="689" y="922"/>
                </a:cxn>
                <a:cxn ang="0">
                  <a:pos x="774" y="880"/>
                </a:cxn>
                <a:cxn ang="0">
                  <a:pos x="847" y="824"/>
                </a:cxn>
                <a:cxn ang="0">
                  <a:pos x="907" y="755"/>
                </a:cxn>
                <a:cxn ang="0">
                  <a:pos x="952" y="673"/>
                </a:cxn>
                <a:cxn ang="0">
                  <a:pos x="981" y="580"/>
                </a:cxn>
                <a:cxn ang="0">
                  <a:pos x="991" y="478"/>
                </a:cxn>
                <a:cxn ang="0">
                  <a:pos x="986" y="399"/>
                </a:cxn>
                <a:cxn ang="0">
                  <a:pos x="961" y="304"/>
                </a:cxn>
                <a:cxn ang="0">
                  <a:pos x="919" y="220"/>
                </a:cxn>
                <a:cxn ang="0">
                  <a:pos x="863" y="148"/>
                </a:cxn>
                <a:cxn ang="0">
                  <a:pos x="793" y="88"/>
                </a:cxn>
                <a:cxn ang="0">
                  <a:pos x="712" y="43"/>
                </a:cxn>
                <a:cxn ang="0">
                  <a:pos x="620" y="13"/>
                </a:cxn>
                <a:cxn ang="0">
                  <a:pos x="522" y="0"/>
                </a:cxn>
                <a:cxn ang="0">
                  <a:pos x="496" y="751"/>
                </a:cxn>
                <a:cxn ang="0">
                  <a:pos x="437" y="745"/>
                </a:cxn>
                <a:cxn ang="0">
                  <a:pos x="384" y="728"/>
                </a:cxn>
                <a:cxn ang="0">
                  <a:pos x="338" y="702"/>
                </a:cxn>
                <a:cxn ang="0">
                  <a:pos x="300" y="668"/>
                </a:cxn>
                <a:cxn ang="0">
                  <a:pos x="269" y="626"/>
                </a:cxn>
                <a:cxn ang="0">
                  <a:pos x="233" y="531"/>
                </a:cxn>
                <a:cxn ang="0">
                  <a:pos x="230" y="451"/>
                </a:cxn>
                <a:cxn ang="0">
                  <a:pos x="257" y="351"/>
                </a:cxn>
                <a:cxn ang="0">
                  <a:pos x="291" y="297"/>
                </a:cxn>
                <a:cxn ang="0">
                  <a:pos x="328" y="262"/>
                </a:cxn>
                <a:cxn ang="0">
                  <a:pos x="371" y="233"/>
                </a:cxn>
                <a:cxn ang="0">
                  <a:pos x="422" y="214"/>
                </a:cxn>
                <a:cxn ang="0">
                  <a:pos x="480" y="205"/>
                </a:cxn>
                <a:cxn ang="0">
                  <a:pos x="526" y="206"/>
                </a:cxn>
                <a:cxn ang="0">
                  <a:pos x="582" y="218"/>
                </a:cxn>
                <a:cxn ang="0">
                  <a:pos x="632" y="239"/>
                </a:cxn>
                <a:cxn ang="0">
                  <a:pos x="674" y="270"/>
                </a:cxn>
                <a:cxn ang="0">
                  <a:pos x="709" y="308"/>
                </a:cxn>
                <a:cxn ang="0">
                  <a:pos x="745" y="375"/>
                </a:cxn>
                <a:cxn ang="0">
                  <a:pos x="764" y="478"/>
                </a:cxn>
                <a:cxn ang="0">
                  <a:pos x="753" y="556"/>
                </a:cxn>
                <a:cxn ang="0">
                  <a:pos x="716" y="637"/>
                </a:cxn>
                <a:cxn ang="0">
                  <a:pos x="683" y="677"/>
                </a:cxn>
                <a:cxn ang="0">
                  <a:pos x="643" y="710"/>
                </a:cxn>
                <a:cxn ang="0">
                  <a:pos x="595" y="733"/>
                </a:cxn>
                <a:cxn ang="0">
                  <a:pos x="542" y="747"/>
                </a:cxn>
                <a:cxn ang="0">
                  <a:pos x="496" y="751"/>
                </a:cxn>
              </a:cxnLst>
              <a:rect l="0" t="0" r="r" b="b"/>
              <a:pathLst>
                <a:path w="991" h="955">
                  <a:moveTo>
                    <a:pt x="496" y="0"/>
                  </a:moveTo>
                  <a:lnTo>
                    <a:pt x="496" y="0"/>
                  </a:lnTo>
                  <a:lnTo>
                    <a:pt x="470" y="0"/>
                  </a:lnTo>
                  <a:lnTo>
                    <a:pt x="445" y="2"/>
                  </a:lnTo>
                  <a:lnTo>
                    <a:pt x="420" y="5"/>
                  </a:lnTo>
                  <a:lnTo>
                    <a:pt x="396" y="8"/>
                  </a:lnTo>
                  <a:lnTo>
                    <a:pt x="371" y="13"/>
                  </a:lnTo>
                  <a:lnTo>
                    <a:pt x="348" y="19"/>
                  </a:lnTo>
                  <a:lnTo>
                    <a:pt x="326" y="26"/>
                  </a:lnTo>
                  <a:lnTo>
                    <a:pt x="302" y="35"/>
                  </a:lnTo>
                  <a:lnTo>
                    <a:pt x="281" y="43"/>
                  </a:lnTo>
                  <a:lnTo>
                    <a:pt x="259" y="53"/>
                  </a:lnTo>
                  <a:lnTo>
                    <a:pt x="239" y="64"/>
                  </a:lnTo>
                  <a:lnTo>
                    <a:pt x="219" y="75"/>
                  </a:lnTo>
                  <a:lnTo>
                    <a:pt x="199" y="88"/>
                  </a:lnTo>
                  <a:lnTo>
                    <a:pt x="180" y="102"/>
                  </a:lnTo>
                  <a:lnTo>
                    <a:pt x="162" y="116"/>
                  </a:lnTo>
                  <a:lnTo>
                    <a:pt x="145" y="131"/>
                  </a:lnTo>
                  <a:lnTo>
                    <a:pt x="129" y="148"/>
                  </a:lnTo>
                  <a:lnTo>
                    <a:pt x="114" y="164"/>
                  </a:lnTo>
                  <a:lnTo>
                    <a:pt x="98" y="182"/>
                  </a:lnTo>
                  <a:lnTo>
                    <a:pt x="85" y="201"/>
                  </a:lnTo>
                  <a:lnTo>
                    <a:pt x="72" y="220"/>
                  </a:lnTo>
                  <a:lnTo>
                    <a:pt x="60" y="240"/>
                  </a:lnTo>
                  <a:lnTo>
                    <a:pt x="49" y="261"/>
                  </a:lnTo>
                  <a:lnTo>
                    <a:pt x="39" y="282"/>
                  </a:lnTo>
                  <a:lnTo>
                    <a:pt x="30" y="304"/>
                  </a:lnTo>
                  <a:lnTo>
                    <a:pt x="23" y="327"/>
                  </a:lnTo>
                  <a:lnTo>
                    <a:pt x="16" y="350"/>
                  </a:lnTo>
                  <a:lnTo>
                    <a:pt x="11" y="375"/>
                  </a:lnTo>
                  <a:lnTo>
                    <a:pt x="7" y="399"/>
                  </a:lnTo>
                  <a:lnTo>
                    <a:pt x="4" y="425"/>
                  </a:lnTo>
                  <a:lnTo>
                    <a:pt x="2" y="451"/>
                  </a:lnTo>
                  <a:lnTo>
                    <a:pt x="0" y="478"/>
                  </a:lnTo>
                  <a:lnTo>
                    <a:pt x="0" y="478"/>
                  </a:lnTo>
                  <a:lnTo>
                    <a:pt x="2" y="504"/>
                  </a:lnTo>
                  <a:lnTo>
                    <a:pt x="4" y="531"/>
                  </a:lnTo>
                  <a:lnTo>
                    <a:pt x="7" y="556"/>
                  </a:lnTo>
                  <a:lnTo>
                    <a:pt x="11" y="580"/>
                  </a:lnTo>
                  <a:lnTo>
                    <a:pt x="16" y="605"/>
                  </a:lnTo>
                  <a:lnTo>
                    <a:pt x="23" y="628"/>
                  </a:lnTo>
                  <a:lnTo>
                    <a:pt x="30" y="651"/>
                  </a:lnTo>
                  <a:lnTo>
                    <a:pt x="39" y="673"/>
                  </a:lnTo>
                  <a:lnTo>
                    <a:pt x="49" y="694"/>
                  </a:lnTo>
                  <a:lnTo>
                    <a:pt x="60" y="716"/>
                  </a:lnTo>
                  <a:lnTo>
                    <a:pt x="72" y="735"/>
                  </a:lnTo>
                  <a:lnTo>
                    <a:pt x="85" y="755"/>
                  </a:lnTo>
                  <a:lnTo>
                    <a:pt x="98" y="773"/>
                  </a:lnTo>
                  <a:lnTo>
                    <a:pt x="114" y="791"/>
                  </a:lnTo>
                  <a:lnTo>
                    <a:pt x="129" y="808"/>
                  </a:lnTo>
                  <a:lnTo>
                    <a:pt x="145" y="824"/>
                  </a:lnTo>
                  <a:lnTo>
                    <a:pt x="162" y="839"/>
                  </a:lnTo>
                  <a:lnTo>
                    <a:pt x="180" y="853"/>
                  </a:lnTo>
                  <a:lnTo>
                    <a:pt x="199" y="868"/>
                  </a:lnTo>
                  <a:lnTo>
                    <a:pt x="219" y="880"/>
                  </a:lnTo>
                  <a:lnTo>
                    <a:pt x="239" y="892"/>
                  </a:lnTo>
                  <a:lnTo>
                    <a:pt x="259" y="902"/>
                  </a:lnTo>
                  <a:lnTo>
                    <a:pt x="281" y="912"/>
                  </a:lnTo>
                  <a:lnTo>
                    <a:pt x="302" y="922"/>
                  </a:lnTo>
                  <a:lnTo>
                    <a:pt x="326" y="929"/>
                  </a:lnTo>
                  <a:lnTo>
                    <a:pt x="348" y="936"/>
                  </a:lnTo>
                  <a:lnTo>
                    <a:pt x="371" y="942"/>
                  </a:lnTo>
                  <a:lnTo>
                    <a:pt x="396" y="947"/>
                  </a:lnTo>
                  <a:lnTo>
                    <a:pt x="420" y="950"/>
                  </a:lnTo>
                  <a:lnTo>
                    <a:pt x="445" y="953"/>
                  </a:lnTo>
                  <a:lnTo>
                    <a:pt x="470" y="955"/>
                  </a:lnTo>
                  <a:lnTo>
                    <a:pt x="496" y="955"/>
                  </a:lnTo>
                  <a:lnTo>
                    <a:pt x="496" y="955"/>
                  </a:lnTo>
                  <a:lnTo>
                    <a:pt x="522" y="955"/>
                  </a:lnTo>
                  <a:lnTo>
                    <a:pt x="547" y="953"/>
                  </a:lnTo>
                  <a:lnTo>
                    <a:pt x="572" y="950"/>
                  </a:lnTo>
                  <a:lnTo>
                    <a:pt x="597" y="947"/>
                  </a:lnTo>
                  <a:lnTo>
                    <a:pt x="620" y="942"/>
                  </a:lnTo>
                  <a:lnTo>
                    <a:pt x="643" y="936"/>
                  </a:lnTo>
                  <a:lnTo>
                    <a:pt x="667" y="929"/>
                  </a:lnTo>
                  <a:lnTo>
                    <a:pt x="689" y="922"/>
                  </a:lnTo>
                  <a:lnTo>
                    <a:pt x="712" y="912"/>
                  </a:lnTo>
                  <a:lnTo>
                    <a:pt x="733" y="902"/>
                  </a:lnTo>
                  <a:lnTo>
                    <a:pt x="753" y="892"/>
                  </a:lnTo>
                  <a:lnTo>
                    <a:pt x="774" y="880"/>
                  </a:lnTo>
                  <a:lnTo>
                    <a:pt x="793" y="868"/>
                  </a:lnTo>
                  <a:lnTo>
                    <a:pt x="811" y="853"/>
                  </a:lnTo>
                  <a:lnTo>
                    <a:pt x="830" y="839"/>
                  </a:lnTo>
                  <a:lnTo>
                    <a:pt x="847" y="824"/>
                  </a:lnTo>
                  <a:lnTo>
                    <a:pt x="863" y="808"/>
                  </a:lnTo>
                  <a:lnTo>
                    <a:pt x="879" y="791"/>
                  </a:lnTo>
                  <a:lnTo>
                    <a:pt x="893" y="773"/>
                  </a:lnTo>
                  <a:lnTo>
                    <a:pt x="907" y="755"/>
                  </a:lnTo>
                  <a:lnTo>
                    <a:pt x="919" y="735"/>
                  </a:lnTo>
                  <a:lnTo>
                    <a:pt x="932" y="716"/>
                  </a:lnTo>
                  <a:lnTo>
                    <a:pt x="943" y="694"/>
                  </a:lnTo>
                  <a:lnTo>
                    <a:pt x="952" y="673"/>
                  </a:lnTo>
                  <a:lnTo>
                    <a:pt x="961" y="651"/>
                  </a:lnTo>
                  <a:lnTo>
                    <a:pt x="969" y="628"/>
                  </a:lnTo>
                  <a:lnTo>
                    <a:pt x="976" y="605"/>
                  </a:lnTo>
                  <a:lnTo>
                    <a:pt x="981" y="580"/>
                  </a:lnTo>
                  <a:lnTo>
                    <a:pt x="986" y="556"/>
                  </a:lnTo>
                  <a:lnTo>
                    <a:pt x="989" y="531"/>
                  </a:lnTo>
                  <a:lnTo>
                    <a:pt x="991" y="504"/>
                  </a:lnTo>
                  <a:lnTo>
                    <a:pt x="991" y="478"/>
                  </a:lnTo>
                  <a:lnTo>
                    <a:pt x="991" y="478"/>
                  </a:lnTo>
                  <a:lnTo>
                    <a:pt x="991" y="451"/>
                  </a:lnTo>
                  <a:lnTo>
                    <a:pt x="989" y="425"/>
                  </a:lnTo>
                  <a:lnTo>
                    <a:pt x="986" y="399"/>
                  </a:lnTo>
                  <a:lnTo>
                    <a:pt x="981" y="375"/>
                  </a:lnTo>
                  <a:lnTo>
                    <a:pt x="976" y="350"/>
                  </a:lnTo>
                  <a:lnTo>
                    <a:pt x="969" y="327"/>
                  </a:lnTo>
                  <a:lnTo>
                    <a:pt x="961" y="304"/>
                  </a:lnTo>
                  <a:lnTo>
                    <a:pt x="952" y="282"/>
                  </a:lnTo>
                  <a:lnTo>
                    <a:pt x="943" y="261"/>
                  </a:lnTo>
                  <a:lnTo>
                    <a:pt x="932" y="240"/>
                  </a:lnTo>
                  <a:lnTo>
                    <a:pt x="919" y="220"/>
                  </a:lnTo>
                  <a:lnTo>
                    <a:pt x="907" y="201"/>
                  </a:lnTo>
                  <a:lnTo>
                    <a:pt x="893" y="182"/>
                  </a:lnTo>
                  <a:lnTo>
                    <a:pt x="879" y="164"/>
                  </a:lnTo>
                  <a:lnTo>
                    <a:pt x="863" y="148"/>
                  </a:lnTo>
                  <a:lnTo>
                    <a:pt x="847" y="131"/>
                  </a:lnTo>
                  <a:lnTo>
                    <a:pt x="830" y="116"/>
                  </a:lnTo>
                  <a:lnTo>
                    <a:pt x="811" y="102"/>
                  </a:lnTo>
                  <a:lnTo>
                    <a:pt x="793" y="88"/>
                  </a:lnTo>
                  <a:lnTo>
                    <a:pt x="774" y="75"/>
                  </a:lnTo>
                  <a:lnTo>
                    <a:pt x="753" y="64"/>
                  </a:lnTo>
                  <a:lnTo>
                    <a:pt x="733" y="53"/>
                  </a:lnTo>
                  <a:lnTo>
                    <a:pt x="712" y="43"/>
                  </a:lnTo>
                  <a:lnTo>
                    <a:pt x="689" y="35"/>
                  </a:lnTo>
                  <a:lnTo>
                    <a:pt x="667" y="26"/>
                  </a:lnTo>
                  <a:lnTo>
                    <a:pt x="643" y="19"/>
                  </a:lnTo>
                  <a:lnTo>
                    <a:pt x="620" y="13"/>
                  </a:lnTo>
                  <a:lnTo>
                    <a:pt x="597" y="8"/>
                  </a:lnTo>
                  <a:lnTo>
                    <a:pt x="572" y="5"/>
                  </a:lnTo>
                  <a:lnTo>
                    <a:pt x="547" y="2"/>
                  </a:lnTo>
                  <a:lnTo>
                    <a:pt x="522" y="0"/>
                  </a:lnTo>
                  <a:lnTo>
                    <a:pt x="496" y="0"/>
                  </a:lnTo>
                  <a:lnTo>
                    <a:pt x="496" y="0"/>
                  </a:lnTo>
                  <a:close/>
                  <a:moveTo>
                    <a:pt x="496" y="751"/>
                  </a:moveTo>
                  <a:lnTo>
                    <a:pt x="496" y="751"/>
                  </a:lnTo>
                  <a:lnTo>
                    <a:pt x="480" y="751"/>
                  </a:lnTo>
                  <a:lnTo>
                    <a:pt x="465" y="749"/>
                  </a:lnTo>
                  <a:lnTo>
                    <a:pt x="451" y="747"/>
                  </a:lnTo>
                  <a:lnTo>
                    <a:pt x="437" y="745"/>
                  </a:lnTo>
                  <a:lnTo>
                    <a:pt x="422" y="741"/>
                  </a:lnTo>
                  <a:lnTo>
                    <a:pt x="409" y="738"/>
                  </a:lnTo>
                  <a:lnTo>
                    <a:pt x="396" y="733"/>
                  </a:lnTo>
                  <a:lnTo>
                    <a:pt x="384" y="728"/>
                  </a:lnTo>
                  <a:lnTo>
                    <a:pt x="371" y="723"/>
                  </a:lnTo>
                  <a:lnTo>
                    <a:pt x="360" y="716"/>
                  </a:lnTo>
                  <a:lnTo>
                    <a:pt x="349" y="710"/>
                  </a:lnTo>
                  <a:lnTo>
                    <a:pt x="338" y="702"/>
                  </a:lnTo>
                  <a:lnTo>
                    <a:pt x="328" y="694"/>
                  </a:lnTo>
                  <a:lnTo>
                    <a:pt x="317" y="685"/>
                  </a:lnTo>
                  <a:lnTo>
                    <a:pt x="308" y="677"/>
                  </a:lnTo>
                  <a:lnTo>
                    <a:pt x="300" y="668"/>
                  </a:lnTo>
                  <a:lnTo>
                    <a:pt x="291" y="658"/>
                  </a:lnTo>
                  <a:lnTo>
                    <a:pt x="284" y="648"/>
                  </a:lnTo>
                  <a:lnTo>
                    <a:pt x="276" y="637"/>
                  </a:lnTo>
                  <a:lnTo>
                    <a:pt x="269" y="626"/>
                  </a:lnTo>
                  <a:lnTo>
                    <a:pt x="257" y="604"/>
                  </a:lnTo>
                  <a:lnTo>
                    <a:pt x="247" y="580"/>
                  </a:lnTo>
                  <a:lnTo>
                    <a:pt x="239" y="556"/>
                  </a:lnTo>
                  <a:lnTo>
                    <a:pt x="233" y="531"/>
                  </a:lnTo>
                  <a:lnTo>
                    <a:pt x="230" y="504"/>
                  </a:lnTo>
                  <a:lnTo>
                    <a:pt x="229" y="478"/>
                  </a:lnTo>
                  <a:lnTo>
                    <a:pt x="229" y="478"/>
                  </a:lnTo>
                  <a:lnTo>
                    <a:pt x="230" y="451"/>
                  </a:lnTo>
                  <a:lnTo>
                    <a:pt x="233" y="425"/>
                  </a:lnTo>
                  <a:lnTo>
                    <a:pt x="239" y="399"/>
                  </a:lnTo>
                  <a:lnTo>
                    <a:pt x="247" y="375"/>
                  </a:lnTo>
                  <a:lnTo>
                    <a:pt x="257" y="351"/>
                  </a:lnTo>
                  <a:lnTo>
                    <a:pt x="269" y="329"/>
                  </a:lnTo>
                  <a:lnTo>
                    <a:pt x="276" y="318"/>
                  </a:lnTo>
                  <a:lnTo>
                    <a:pt x="284" y="308"/>
                  </a:lnTo>
                  <a:lnTo>
                    <a:pt x="291" y="297"/>
                  </a:lnTo>
                  <a:lnTo>
                    <a:pt x="300" y="288"/>
                  </a:lnTo>
                  <a:lnTo>
                    <a:pt x="308" y="279"/>
                  </a:lnTo>
                  <a:lnTo>
                    <a:pt x="317" y="270"/>
                  </a:lnTo>
                  <a:lnTo>
                    <a:pt x="328" y="262"/>
                  </a:lnTo>
                  <a:lnTo>
                    <a:pt x="338" y="254"/>
                  </a:lnTo>
                  <a:lnTo>
                    <a:pt x="349" y="246"/>
                  </a:lnTo>
                  <a:lnTo>
                    <a:pt x="360" y="239"/>
                  </a:lnTo>
                  <a:lnTo>
                    <a:pt x="371" y="233"/>
                  </a:lnTo>
                  <a:lnTo>
                    <a:pt x="384" y="227"/>
                  </a:lnTo>
                  <a:lnTo>
                    <a:pt x="396" y="222"/>
                  </a:lnTo>
                  <a:lnTo>
                    <a:pt x="409" y="218"/>
                  </a:lnTo>
                  <a:lnTo>
                    <a:pt x="422" y="214"/>
                  </a:lnTo>
                  <a:lnTo>
                    <a:pt x="437" y="211"/>
                  </a:lnTo>
                  <a:lnTo>
                    <a:pt x="451" y="208"/>
                  </a:lnTo>
                  <a:lnTo>
                    <a:pt x="465" y="206"/>
                  </a:lnTo>
                  <a:lnTo>
                    <a:pt x="480" y="205"/>
                  </a:lnTo>
                  <a:lnTo>
                    <a:pt x="496" y="205"/>
                  </a:lnTo>
                  <a:lnTo>
                    <a:pt x="496" y="205"/>
                  </a:lnTo>
                  <a:lnTo>
                    <a:pt x="512" y="205"/>
                  </a:lnTo>
                  <a:lnTo>
                    <a:pt x="526" y="206"/>
                  </a:lnTo>
                  <a:lnTo>
                    <a:pt x="542" y="208"/>
                  </a:lnTo>
                  <a:lnTo>
                    <a:pt x="556" y="211"/>
                  </a:lnTo>
                  <a:lnTo>
                    <a:pt x="569" y="214"/>
                  </a:lnTo>
                  <a:lnTo>
                    <a:pt x="582" y="218"/>
                  </a:lnTo>
                  <a:lnTo>
                    <a:pt x="595" y="222"/>
                  </a:lnTo>
                  <a:lnTo>
                    <a:pt x="608" y="227"/>
                  </a:lnTo>
                  <a:lnTo>
                    <a:pt x="620" y="233"/>
                  </a:lnTo>
                  <a:lnTo>
                    <a:pt x="632" y="239"/>
                  </a:lnTo>
                  <a:lnTo>
                    <a:pt x="643" y="246"/>
                  </a:lnTo>
                  <a:lnTo>
                    <a:pt x="654" y="254"/>
                  </a:lnTo>
                  <a:lnTo>
                    <a:pt x="665" y="262"/>
                  </a:lnTo>
                  <a:lnTo>
                    <a:pt x="674" y="270"/>
                  </a:lnTo>
                  <a:lnTo>
                    <a:pt x="683" y="279"/>
                  </a:lnTo>
                  <a:lnTo>
                    <a:pt x="692" y="288"/>
                  </a:lnTo>
                  <a:lnTo>
                    <a:pt x="700" y="297"/>
                  </a:lnTo>
                  <a:lnTo>
                    <a:pt x="709" y="308"/>
                  </a:lnTo>
                  <a:lnTo>
                    <a:pt x="716" y="318"/>
                  </a:lnTo>
                  <a:lnTo>
                    <a:pt x="723" y="329"/>
                  </a:lnTo>
                  <a:lnTo>
                    <a:pt x="735" y="351"/>
                  </a:lnTo>
                  <a:lnTo>
                    <a:pt x="745" y="375"/>
                  </a:lnTo>
                  <a:lnTo>
                    <a:pt x="753" y="399"/>
                  </a:lnTo>
                  <a:lnTo>
                    <a:pt x="759" y="425"/>
                  </a:lnTo>
                  <a:lnTo>
                    <a:pt x="763" y="451"/>
                  </a:lnTo>
                  <a:lnTo>
                    <a:pt x="764" y="478"/>
                  </a:lnTo>
                  <a:lnTo>
                    <a:pt x="764" y="478"/>
                  </a:lnTo>
                  <a:lnTo>
                    <a:pt x="763" y="504"/>
                  </a:lnTo>
                  <a:lnTo>
                    <a:pt x="759" y="531"/>
                  </a:lnTo>
                  <a:lnTo>
                    <a:pt x="753" y="556"/>
                  </a:lnTo>
                  <a:lnTo>
                    <a:pt x="745" y="580"/>
                  </a:lnTo>
                  <a:lnTo>
                    <a:pt x="735" y="604"/>
                  </a:lnTo>
                  <a:lnTo>
                    <a:pt x="723" y="626"/>
                  </a:lnTo>
                  <a:lnTo>
                    <a:pt x="716" y="637"/>
                  </a:lnTo>
                  <a:lnTo>
                    <a:pt x="709" y="648"/>
                  </a:lnTo>
                  <a:lnTo>
                    <a:pt x="700" y="658"/>
                  </a:lnTo>
                  <a:lnTo>
                    <a:pt x="692" y="668"/>
                  </a:lnTo>
                  <a:lnTo>
                    <a:pt x="683" y="677"/>
                  </a:lnTo>
                  <a:lnTo>
                    <a:pt x="674" y="685"/>
                  </a:lnTo>
                  <a:lnTo>
                    <a:pt x="665" y="694"/>
                  </a:lnTo>
                  <a:lnTo>
                    <a:pt x="654" y="702"/>
                  </a:lnTo>
                  <a:lnTo>
                    <a:pt x="643" y="710"/>
                  </a:lnTo>
                  <a:lnTo>
                    <a:pt x="632" y="716"/>
                  </a:lnTo>
                  <a:lnTo>
                    <a:pt x="620" y="723"/>
                  </a:lnTo>
                  <a:lnTo>
                    <a:pt x="608" y="728"/>
                  </a:lnTo>
                  <a:lnTo>
                    <a:pt x="595" y="733"/>
                  </a:lnTo>
                  <a:lnTo>
                    <a:pt x="582" y="738"/>
                  </a:lnTo>
                  <a:lnTo>
                    <a:pt x="569" y="741"/>
                  </a:lnTo>
                  <a:lnTo>
                    <a:pt x="556" y="745"/>
                  </a:lnTo>
                  <a:lnTo>
                    <a:pt x="542" y="747"/>
                  </a:lnTo>
                  <a:lnTo>
                    <a:pt x="526" y="749"/>
                  </a:lnTo>
                  <a:lnTo>
                    <a:pt x="512" y="751"/>
                  </a:lnTo>
                  <a:lnTo>
                    <a:pt x="496" y="751"/>
                  </a:lnTo>
                  <a:lnTo>
                    <a:pt x="496" y="75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29"/>
            <p:cNvSpPr>
              <a:spLocks/>
            </p:cNvSpPr>
            <p:nvPr/>
          </p:nvSpPr>
          <p:spPr bwMode="auto">
            <a:xfrm>
              <a:off x="3100388" y="5346700"/>
              <a:ext cx="1120775" cy="739775"/>
            </a:xfrm>
            <a:custGeom>
              <a:avLst/>
              <a:gdLst/>
              <a:ahLst/>
              <a:cxnLst>
                <a:cxn ang="0">
                  <a:pos x="216" y="165"/>
                </a:cxn>
                <a:cxn ang="0">
                  <a:pos x="229" y="149"/>
                </a:cxn>
                <a:cxn ang="0">
                  <a:pos x="259" y="103"/>
                </a:cxn>
                <a:cxn ang="0">
                  <a:pos x="301" y="62"/>
                </a:cxn>
                <a:cxn ang="0">
                  <a:pos x="355" y="30"/>
                </a:cxn>
                <a:cxn ang="0">
                  <a:pos x="420" y="8"/>
                </a:cxn>
                <a:cxn ang="0">
                  <a:pos x="500" y="0"/>
                </a:cxn>
                <a:cxn ang="0">
                  <a:pos x="550" y="2"/>
                </a:cxn>
                <a:cxn ang="0">
                  <a:pos x="618" y="16"/>
                </a:cxn>
                <a:cxn ang="0">
                  <a:pos x="677" y="42"/>
                </a:cxn>
                <a:cxn ang="0">
                  <a:pos x="725" y="79"/>
                </a:cxn>
                <a:cxn ang="0">
                  <a:pos x="764" y="128"/>
                </a:cxn>
                <a:cxn ang="0">
                  <a:pos x="784" y="169"/>
                </a:cxn>
                <a:cxn ang="0">
                  <a:pos x="825" y="110"/>
                </a:cxn>
                <a:cxn ang="0">
                  <a:pos x="872" y="64"/>
                </a:cxn>
                <a:cxn ang="0">
                  <a:pos x="927" y="31"/>
                </a:cxn>
                <a:cxn ang="0">
                  <a:pos x="989" y="10"/>
                </a:cxn>
                <a:cxn ang="0">
                  <a:pos x="1059" y="0"/>
                </a:cxn>
                <a:cxn ang="0">
                  <a:pos x="1106" y="0"/>
                </a:cxn>
                <a:cxn ang="0">
                  <a:pos x="1168" y="7"/>
                </a:cxn>
                <a:cxn ang="0">
                  <a:pos x="1221" y="23"/>
                </a:cxn>
                <a:cxn ang="0">
                  <a:pos x="1268" y="47"/>
                </a:cxn>
                <a:cxn ang="0">
                  <a:pos x="1307" y="76"/>
                </a:cxn>
                <a:cxn ang="0">
                  <a:pos x="1339" y="113"/>
                </a:cxn>
                <a:cxn ang="0">
                  <a:pos x="1365" y="156"/>
                </a:cxn>
                <a:cxn ang="0">
                  <a:pos x="1385" y="203"/>
                </a:cxn>
                <a:cxn ang="0">
                  <a:pos x="1399" y="256"/>
                </a:cxn>
                <a:cxn ang="0">
                  <a:pos x="1408" y="311"/>
                </a:cxn>
                <a:cxn ang="0">
                  <a:pos x="1413" y="933"/>
                </a:cxn>
                <a:cxn ang="0">
                  <a:pos x="1184" y="417"/>
                </a:cxn>
                <a:cxn ang="0">
                  <a:pos x="1180" y="355"/>
                </a:cxn>
                <a:cxn ang="0">
                  <a:pos x="1167" y="299"/>
                </a:cxn>
                <a:cxn ang="0">
                  <a:pos x="1140" y="255"/>
                </a:cxn>
                <a:cxn ang="0">
                  <a:pos x="1107" y="226"/>
                </a:cxn>
                <a:cxn ang="0">
                  <a:pos x="1081" y="215"/>
                </a:cxn>
                <a:cxn ang="0">
                  <a:pos x="1051" y="207"/>
                </a:cxn>
                <a:cxn ang="0">
                  <a:pos x="1015" y="205"/>
                </a:cxn>
                <a:cxn ang="0">
                  <a:pos x="977" y="208"/>
                </a:cxn>
                <a:cxn ang="0">
                  <a:pos x="945" y="216"/>
                </a:cxn>
                <a:cxn ang="0">
                  <a:pos x="915" y="230"/>
                </a:cxn>
                <a:cxn ang="0">
                  <a:pos x="891" y="248"/>
                </a:cxn>
                <a:cxn ang="0">
                  <a:pos x="853" y="295"/>
                </a:cxn>
                <a:cxn ang="0">
                  <a:pos x="831" y="353"/>
                </a:cxn>
                <a:cxn ang="0">
                  <a:pos x="821" y="417"/>
                </a:cxn>
                <a:cxn ang="0">
                  <a:pos x="592" y="933"/>
                </a:cxn>
                <a:cxn ang="0">
                  <a:pos x="591" y="370"/>
                </a:cxn>
                <a:cxn ang="0">
                  <a:pos x="583" y="315"/>
                </a:cxn>
                <a:cxn ang="0">
                  <a:pos x="565" y="269"/>
                </a:cxn>
                <a:cxn ang="0">
                  <a:pos x="534" y="234"/>
                </a:cxn>
                <a:cxn ang="0">
                  <a:pos x="491" y="212"/>
                </a:cxn>
                <a:cxn ang="0">
                  <a:pos x="436" y="205"/>
                </a:cxn>
                <a:cxn ang="0">
                  <a:pos x="410" y="206"/>
                </a:cxn>
                <a:cxn ang="0">
                  <a:pos x="373" y="212"/>
                </a:cxn>
                <a:cxn ang="0">
                  <a:pos x="341" y="224"/>
                </a:cxn>
                <a:cxn ang="0">
                  <a:pos x="313" y="239"/>
                </a:cxn>
                <a:cxn ang="0">
                  <a:pos x="290" y="260"/>
                </a:cxn>
                <a:cxn ang="0">
                  <a:pos x="254" y="310"/>
                </a:cxn>
                <a:cxn ang="0">
                  <a:pos x="235" y="370"/>
                </a:cxn>
                <a:cxn ang="0">
                  <a:pos x="228" y="436"/>
                </a:cxn>
                <a:cxn ang="0">
                  <a:pos x="0" y="22"/>
                </a:cxn>
              </a:cxnLst>
              <a:rect l="0" t="0" r="r" b="b"/>
              <a:pathLst>
                <a:path w="1413" h="933">
                  <a:moveTo>
                    <a:pt x="0" y="22"/>
                  </a:moveTo>
                  <a:lnTo>
                    <a:pt x="216" y="22"/>
                  </a:lnTo>
                  <a:lnTo>
                    <a:pt x="216" y="165"/>
                  </a:lnTo>
                  <a:lnTo>
                    <a:pt x="220" y="165"/>
                  </a:lnTo>
                  <a:lnTo>
                    <a:pt x="220" y="165"/>
                  </a:lnTo>
                  <a:lnTo>
                    <a:pt x="229" y="149"/>
                  </a:lnTo>
                  <a:lnTo>
                    <a:pt x="238" y="133"/>
                  </a:lnTo>
                  <a:lnTo>
                    <a:pt x="248" y="118"/>
                  </a:lnTo>
                  <a:lnTo>
                    <a:pt x="259" y="103"/>
                  </a:lnTo>
                  <a:lnTo>
                    <a:pt x="272" y="89"/>
                  </a:lnTo>
                  <a:lnTo>
                    <a:pt x="286" y="75"/>
                  </a:lnTo>
                  <a:lnTo>
                    <a:pt x="301" y="62"/>
                  </a:lnTo>
                  <a:lnTo>
                    <a:pt x="318" y="50"/>
                  </a:lnTo>
                  <a:lnTo>
                    <a:pt x="336" y="40"/>
                  </a:lnTo>
                  <a:lnTo>
                    <a:pt x="355" y="30"/>
                  </a:lnTo>
                  <a:lnTo>
                    <a:pt x="375" y="20"/>
                  </a:lnTo>
                  <a:lnTo>
                    <a:pt x="398" y="13"/>
                  </a:lnTo>
                  <a:lnTo>
                    <a:pt x="420" y="8"/>
                  </a:lnTo>
                  <a:lnTo>
                    <a:pt x="446" y="3"/>
                  </a:lnTo>
                  <a:lnTo>
                    <a:pt x="472" y="1"/>
                  </a:lnTo>
                  <a:lnTo>
                    <a:pt x="500" y="0"/>
                  </a:lnTo>
                  <a:lnTo>
                    <a:pt x="500" y="0"/>
                  </a:lnTo>
                  <a:lnTo>
                    <a:pt x="525" y="0"/>
                  </a:lnTo>
                  <a:lnTo>
                    <a:pt x="550" y="2"/>
                  </a:lnTo>
                  <a:lnTo>
                    <a:pt x="574" y="5"/>
                  </a:lnTo>
                  <a:lnTo>
                    <a:pt x="596" y="10"/>
                  </a:lnTo>
                  <a:lnTo>
                    <a:pt x="618" y="16"/>
                  </a:lnTo>
                  <a:lnTo>
                    <a:pt x="638" y="23"/>
                  </a:lnTo>
                  <a:lnTo>
                    <a:pt x="659" y="32"/>
                  </a:lnTo>
                  <a:lnTo>
                    <a:pt x="677" y="42"/>
                  </a:lnTo>
                  <a:lnTo>
                    <a:pt x="694" y="53"/>
                  </a:lnTo>
                  <a:lnTo>
                    <a:pt x="711" y="65"/>
                  </a:lnTo>
                  <a:lnTo>
                    <a:pt x="725" y="79"/>
                  </a:lnTo>
                  <a:lnTo>
                    <a:pt x="739" y="95"/>
                  </a:lnTo>
                  <a:lnTo>
                    <a:pt x="752" y="111"/>
                  </a:lnTo>
                  <a:lnTo>
                    <a:pt x="764" y="128"/>
                  </a:lnTo>
                  <a:lnTo>
                    <a:pt x="775" y="148"/>
                  </a:lnTo>
                  <a:lnTo>
                    <a:pt x="784" y="169"/>
                  </a:lnTo>
                  <a:lnTo>
                    <a:pt x="784" y="169"/>
                  </a:lnTo>
                  <a:lnTo>
                    <a:pt x="797" y="148"/>
                  </a:lnTo>
                  <a:lnTo>
                    <a:pt x="810" y="128"/>
                  </a:lnTo>
                  <a:lnTo>
                    <a:pt x="825" y="110"/>
                  </a:lnTo>
                  <a:lnTo>
                    <a:pt x="840" y="94"/>
                  </a:lnTo>
                  <a:lnTo>
                    <a:pt x="855" y="78"/>
                  </a:lnTo>
                  <a:lnTo>
                    <a:pt x="872" y="64"/>
                  </a:lnTo>
                  <a:lnTo>
                    <a:pt x="890" y="52"/>
                  </a:lnTo>
                  <a:lnTo>
                    <a:pt x="907" y="41"/>
                  </a:lnTo>
                  <a:lnTo>
                    <a:pt x="927" y="31"/>
                  </a:lnTo>
                  <a:lnTo>
                    <a:pt x="946" y="22"/>
                  </a:lnTo>
                  <a:lnTo>
                    <a:pt x="967" y="15"/>
                  </a:lnTo>
                  <a:lnTo>
                    <a:pt x="989" y="10"/>
                  </a:lnTo>
                  <a:lnTo>
                    <a:pt x="1011" y="5"/>
                  </a:lnTo>
                  <a:lnTo>
                    <a:pt x="1035" y="2"/>
                  </a:lnTo>
                  <a:lnTo>
                    <a:pt x="1059" y="0"/>
                  </a:lnTo>
                  <a:lnTo>
                    <a:pt x="1083" y="0"/>
                  </a:lnTo>
                  <a:lnTo>
                    <a:pt x="1083" y="0"/>
                  </a:lnTo>
                  <a:lnTo>
                    <a:pt x="1106" y="0"/>
                  </a:lnTo>
                  <a:lnTo>
                    <a:pt x="1127" y="2"/>
                  </a:lnTo>
                  <a:lnTo>
                    <a:pt x="1148" y="4"/>
                  </a:lnTo>
                  <a:lnTo>
                    <a:pt x="1168" y="7"/>
                  </a:lnTo>
                  <a:lnTo>
                    <a:pt x="1186" y="12"/>
                  </a:lnTo>
                  <a:lnTo>
                    <a:pt x="1205" y="17"/>
                  </a:lnTo>
                  <a:lnTo>
                    <a:pt x="1221" y="23"/>
                  </a:lnTo>
                  <a:lnTo>
                    <a:pt x="1237" y="31"/>
                  </a:lnTo>
                  <a:lnTo>
                    <a:pt x="1253" y="38"/>
                  </a:lnTo>
                  <a:lnTo>
                    <a:pt x="1268" y="47"/>
                  </a:lnTo>
                  <a:lnTo>
                    <a:pt x="1281" y="56"/>
                  </a:lnTo>
                  <a:lnTo>
                    <a:pt x="1294" y="66"/>
                  </a:lnTo>
                  <a:lnTo>
                    <a:pt x="1307" y="76"/>
                  </a:lnTo>
                  <a:lnTo>
                    <a:pt x="1318" y="89"/>
                  </a:lnTo>
                  <a:lnTo>
                    <a:pt x="1329" y="101"/>
                  </a:lnTo>
                  <a:lnTo>
                    <a:pt x="1339" y="113"/>
                  </a:lnTo>
                  <a:lnTo>
                    <a:pt x="1348" y="127"/>
                  </a:lnTo>
                  <a:lnTo>
                    <a:pt x="1357" y="141"/>
                  </a:lnTo>
                  <a:lnTo>
                    <a:pt x="1365" y="156"/>
                  </a:lnTo>
                  <a:lnTo>
                    <a:pt x="1373" y="171"/>
                  </a:lnTo>
                  <a:lnTo>
                    <a:pt x="1379" y="186"/>
                  </a:lnTo>
                  <a:lnTo>
                    <a:pt x="1385" y="203"/>
                  </a:lnTo>
                  <a:lnTo>
                    <a:pt x="1390" y="220"/>
                  </a:lnTo>
                  <a:lnTo>
                    <a:pt x="1395" y="237"/>
                  </a:lnTo>
                  <a:lnTo>
                    <a:pt x="1399" y="256"/>
                  </a:lnTo>
                  <a:lnTo>
                    <a:pt x="1402" y="273"/>
                  </a:lnTo>
                  <a:lnTo>
                    <a:pt x="1405" y="292"/>
                  </a:lnTo>
                  <a:lnTo>
                    <a:pt x="1408" y="311"/>
                  </a:lnTo>
                  <a:lnTo>
                    <a:pt x="1411" y="350"/>
                  </a:lnTo>
                  <a:lnTo>
                    <a:pt x="1413" y="390"/>
                  </a:lnTo>
                  <a:lnTo>
                    <a:pt x="1413" y="933"/>
                  </a:lnTo>
                  <a:lnTo>
                    <a:pt x="1184" y="933"/>
                  </a:lnTo>
                  <a:lnTo>
                    <a:pt x="1184" y="417"/>
                  </a:lnTo>
                  <a:lnTo>
                    <a:pt x="1184" y="417"/>
                  </a:lnTo>
                  <a:lnTo>
                    <a:pt x="1184" y="396"/>
                  </a:lnTo>
                  <a:lnTo>
                    <a:pt x="1182" y="376"/>
                  </a:lnTo>
                  <a:lnTo>
                    <a:pt x="1180" y="355"/>
                  </a:lnTo>
                  <a:lnTo>
                    <a:pt x="1177" y="336"/>
                  </a:lnTo>
                  <a:lnTo>
                    <a:pt x="1172" y="318"/>
                  </a:lnTo>
                  <a:lnTo>
                    <a:pt x="1167" y="299"/>
                  </a:lnTo>
                  <a:lnTo>
                    <a:pt x="1159" y="283"/>
                  </a:lnTo>
                  <a:lnTo>
                    <a:pt x="1151" y="268"/>
                  </a:lnTo>
                  <a:lnTo>
                    <a:pt x="1140" y="255"/>
                  </a:lnTo>
                  <a:lnTo>
                    <a:pt x="1128" y="241"/>
                  </a:lnTo>
                  <a:lnTo>
                    <a:pt x="1114" y="231"/>
                  </a:lnTo>
                  <a:lnTo>
                    <a:pt x="1107" y="226"/>
                  </a:lnTo>
                  <a:lnTo>
                    <a:pt x="1099" y="222"/>
                  </a:lnTo>
                  <a:lnTo>
                    <a:pt x="1091" y="218"/>
                  </a:lnTo>
                  <a:lnTo>
                    <a:pt x="1081" y="215"/>
                  </a:lnTo>
                  <a:lnTo>
                    <a:pt x="1071" y="212"/>
                  </a:lnTo>
                  <a:lnTo>
                    <a:pt x="1061" y="209"/>
                  </a:lnTo>
                  <a:lnTo>
                    <a:pt x="1051" y="207"/>
                  </a:lnTo>
                  <a:lnTo>
                    <a:pt x="1040" y="206"/>
                  </a:lnTo>
                  <a:lnTo>
                    <a:pt x="1015" y="205"/>
                  </a:lnTo>
                  <a:lnTo>
                    <a:pt x="1015" y="205"/>
                  </a:lnTo>
                  <a:lnTo>
                    <a:pt x="1003" y="205"/>
                  </a:lnTo>
                  <a:lnTo>
                    <a:pt x="990" y="206"/>
                  </a:lnTo>
                  <a:lnTo>
                    <a:pt x="977" y="208"/>
                  </a:lnTo>
                  <a:lnTo>
                    <a:pt x="966" y="210"/>
                  </a:lnTo>
                  <a:lnTo>
                    <a:pt x="955" y="213"/>
                  </a:lnTo>
                  <a:lnTo>
                    <a:pt x="945" y="216"/>
                  </a:lnTo>
                  <a:lnTo>
                    <a:pt x="935" y="220"/>
                  </a:lnTo>
                  <a:lnTo>
                    <a:pt x="924" y="225"/>
                  </a:lnTo>
                  <a:lnTo>
                    <a:pt x="915" y="230"/>
                  </a:lnTo>
                  <a:lnTo>
                    <a:pt x="907" y="235"/>
                  </a:lnTo>
                  <a:lnTo>
                    <a:pt x="899" y="241"/>
                  </a:lnTo>
                  <a:lnTo>
                    <a:pt x="891" y="248"/>
                  </a:lnTo>
                  <a:lnTo>
                    <a:pt x="877" y="263"/>
                  </a:lnTo>
                  <a:lnTo>
                    <a:pt x="864" y="278"/>
                  </a:lnTo>
                  <a:lnTo>
                    <a:pt x="853" y="295"/>
                  </a:lnTo>
                  <a:lnTo>
                    <a:pt x="844" y="314"/>
                  </a:lnTo>
                  <a:lnTo>
                    <a:pt x="837" y="333"/>
                  </a:lnTo>
                  <a:lnTo>
                    <a:pt x="831" y="353"/>
                  </a:lnTo>
                  <a:lnTo>
                    <a:pt x="826" y="375"/>
                  </a:lnTo>
                  <a:lnTo>
                    <a:pt x="823" y="396"/>
                  </a:lnTo>
                  <a:lnTo>
                    <a:pt x="821" y="417"/>
                  </a:lnTo>
                  <a:lnTo>
                    <a:pt x="820" y="440"/>
                  </a:lnTo>
                  <a:lnTo>
                    <a:pt x="820" y="933"/>
                  </a:lnTo>
                  <a:lnTo>
                    <a:pt x="592" y="933"/>
                  </a:lnTo>
                  <a:lnTo>
                    <a:pt x="592" y="390"/>
                  </a:lnTo>
                  <a:lnTo>
                    <a:pt x="592" y="390"/>
                  </a:lnTo>
                  <a:lnTo>
                    <a:pt x="591" y="370"/>
                  </a:lnTo>
                  <a:lnTo>
                    <a:pt x="590" y="350"/>
                  </a:lnTo>
                  <a:lnTo>
                    <a:pt x="587" y="332"/>
                  </a:lnTo>
                  <a:lnTo>
                    <a:pt x="583" y="315"/>
                  </a:lnTo>
                  <a:lnTo>
                    <a:pt x="578" y="297"/>
                  </a:lnTo>
                  <a:lnTo>
                    <a:pt x="572" y="282"/>
                  </a:lnTo>
                  <a:lnTo>
                    <a:pt x="565" y="269"/>
                  </a:lnTo>
                  <a:lnTo>
                    <a:pt x="556" y="256"/>
                  </a:lnTo>
                  <a:lnTo>
                    <a:pt x="545" y="244"/>
                  </a:lnTo>
                  <a:lnTo>
                    <a:pt x="534" y="234"/>
                  </a:lnTo>
                  <a:lnTo>
                    <a:pt x="522" y="225"/>
                  </a:lnTo>
                  <a:lnTo>
                    <a:pt x="508" y="218"/>
                  </a:lnTo>
                  <a:lnTo>
                    <a:pt x="491" y="212"/>
                  </a:lnTo>
                  <a:lnTo>
                    <a:pt x="475" y="208"/>
                  </a:lnTo>
                  <a:lnTo>
                    <a:pt x="457" y="206"/>
                  </a:lnTo>
                  <a:lnTo>
                    <a:pt x="436" y="205"/>
                  </a:lnTo>
                  <a:lnTo>
                    <a:pt x="436" y="205"/>
                  </a:lnTo>
                  <a:lnTo>
                    <a:pt x="423" y="205"/>
                  </a:lnTo>
                  <a:lnTo>
                    <a:pt x="410" y="206"/>
                  </a:lnTo>
                  <a:lnTo>
                    <a:pt x="397" y="208"/>
                  </a:lnTo>
                  <a:lnTo>
                    <a:pt x="384" y="210"/>
                  </a:lnTo>
                  <a:lnTo>
                    <a:pt x="373" y="212"/>
                  </a:lnTo>
                  <a:lnTo>
                    <a:pt x="362" y="216"/>
                  </a:lnTo>
                  <a:lnTo>
                    <a:pt x="351" y="219"/>
                  </a:lnTo>
                  <a:lnTo>
                    <a:pt x="341" y="224"/>
                  </a:lnTo>
                  <a:lnTo>
                    <a:pt x="332" y="228"/>
                  </a:lnTo>
                  <a:lnTo>
                    <a:pt x="322" y="234"/>
                  </a:lnTo>
                  <a:lnTo>
                    <a:pt x="313" y="239"/>
                  </a:lnTo>
                  <a:lnTo>
                    <a:pt x="305" y="245"/>
                  </a:lnTo>
                  <a:lnTo>
                    <a:pt x="297" y="253"/>
                  </a:lnTo>
                  <a:lnTo>
                    <a:pt x="290" y="260"/>
                  </a:lnTo>
                  <a:lnTo>
                    <a:pt x="277" y="275"/>
                  </a:lnTo>
                  <a:lnTo>
                    <a:pt x="264" y="291"/>
                  </a:lnTo>
                  <a:lnTo>
                    <a:pt x="254" y="310"/>
                  </a:lnTo>
                  <a:lnTo>
                    <a:pt x="246" y="329"/>
                  </a:lnTo>
                  <a:lnTo>
                    <a:pt x="240" y="348"/>
                  </a:lnTo>
                  <a:lnTo>
                    <a:pt x="235" y="370"/>
                  </a:lnTo>
                  <a:lnTo>
                    <a:pt x="231" y="391"/>
                  </a:lnTo>
                  <a:lnTo>
                    <a:pt x="229" y="413"/>
                  </a:lnTo>
                  <a:lnTo>
                    <a:pt x="228" y="436"/>
                  </a:lnTo>
                  <a:lnTo>
                    <a:pt x="228" y="933"/>
                  </a:lnTo>
                  <a:lnTo>
                    <a:pt x="0" y="933"/>
                  </a:lnTo>
                  <a:lnTo>
                    <a:pt x="0"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30"/>
            <p:cNvSpPr>
              <a:spLocks noEditPoints="1"/>
            </p:cNvSpPr>
            <p:nvPr/>
          </p:nvSpPr>
          <p:spPr bwMode="auto">
            <a:xfrm>
              <a:off x="4367213" y="4995863"/>
              <a:ext cx="779462" cy="1109662"/>
            </a:xfrm>
            <a:custGeom>
              <a:avLst/>
              <a:gdLst/>
              <a:ahLst/>
              <a:cxnLst>
                <a:cxn ang="0">
                  <a:pos x="482" y="445"/>
                </a:cxn>
                <a:cxn ang="0">
                  <a:pos x="382" y="470"/>
                </a:cxn>
                <a:cxn ang="0">
                  <a:pos x="307" y="510"/>
                </a:cxn>
                <a:cxn ang="0">
                  <a:pos x="253" y="557"/>
                </a:cxn>
                <a:cxn ang="0">
                  <a:pos x="227" y="0"/>
                </a:cxn>
                <a:cxn ang="0">
                  <a:pos x="216" y="1238"/>
                </a:cxn>
                <a:cxn ang="0">
                  <a:pos x="248" y="1277"/>
                </a:cxn>
                <a:cxn ang="0">
                  <a:pos x="315" y="1337"/>
                </a:cxn>
                <a:cxn ang="0">
                  <a:pos x="395" y="1377"/>
                </a:cxn>
                <a:cxn ang="0">
                  <a:pos x="486" y="1395"/>
                </a:cxn>
                <a:cxn ang="0">
                  <a:pos x="559" y="1397"/>
                </a:cxn>
                <a:cxn ang="0">
                  <a:pos x="656" y="1383"/>
                </a:cxn>
                <a:cxn ang="0">
                  <a:pos x="742" y="1351"/>
                </a:cxn>
                <a:cxn ang="0">
                  <a:pos x="816" y="1305"/>
                </a:cxn>
                <a:cxn ang="0">
                  <a:pos x="877" y="1243"/>
                </a:cxn>
                <a:cxn ang="0">
                  <a:pos x="925" y="1170"/>
                </a:cxn>
                <a:cxn ang="0">
                  <a:pos x="959" y="1087"/>
                </a:cxn>
                <a:cxn ang="0">
                  <a:pos x="978" y="994"/>
                </a:cxn>
                <a:cxn ang="0">
                  <a:pos x="982" y="920"/>
                </a:cxn>
                <a:cxn ang="0">
                  <a:pos x="974" y="822"/>
                </a:cxn>
                <a:cxn ang="0">
                  <a:pos x="951" y="731"/>
                </a:cxn>
                <a:cxn ang="0">
                  <a:pos x="912" y="650"/>
                </a:cxn>
                <a:cxn ang="0">
                  <a:pos x="860" y="579"/>
                </a:cxn>
                <a:cxn ang="0">
                  <a:pos x="796" y="522"/>
                </a:cxn>
                <a:cxn ang="0">
                  <a:pos x="720" y="479"/>
                </a:cxn>
                <a:cxn ang="0">
                  <a:pos x="636" y="451"/>
                </a:cxn>
                <a:cxn ang="0">
                  <a:pos x="542" y="442"/>
                </a:cxn>
                <a:cxn ang="0">
                  <a:pos x="472" y="1193"/>
                </a:cxn>
                <a:cxn ang="0">
                  <a:pos x="414" y="1183"/>
                </a:cxn>
                <a:cxn ang="0">
                  <a:pos x="363" y="1165"/>
                </a:cxn>
                <a:cxn ang="0">
                  <a:pos x="319" y="1136"/>
                </a:cxn>
                <a:cxn ang="0">
                  <a:pos x="282" y="1100"/>
                </a:cxn>
                <a:cxn ang="0">
                  <a:pos x="249" y="1046"/>
                </a:cxn>
                <a:cxn ang="0">
                  <a:pos x="221" y="946"/>
                </a:cxn>
                <a:cxn ang="0">
                  <a:pos x="224" y="867"/>
                </a:cxn>
                <a:cxn ang="0">
                  <a:pos x="261" y="771"/>
                </a:cxn>
                <a:cxn ang="0">
                  <a:pos x="291" y="730"/>
                </a:cxn>
                <a:cxn ang="0">
                  <a:pos x="329" y="696"/>
                </a:cxn>
                <a:cxn ang="0">
                  <a:pos x="375" y="669"/>
                </a:cxn>
                <a:cxn ang="0">
                  <a:pos x="428" y="653"/>
                </a:cxn>
                <a:cxn ang="0">
                  <a:pos x="487" y="647"/>
                </a:cxn>
                <a:cxn ang="0">
                  <a:pos x="533" y="650"/>
                </a:cxn>
                <a:cxn ang="0">
                  <a:pos x="587" y="664"/>
                </a:cxn>
                <a:cxn ang="0">
                  <a:pos x="635" y="688"/>
                </a:cxn>
                <a:cxn ang="0">
                  <a:pos x="674" y="721"/>
                </a:cxn>
                <a:cxn ang="0">
                  <a:pos x="707" y="760"/>
                </a:cxn>
                <a:cxn ang="0">
                  <a:pos x="745" y="841"/>
                </a:cxn>
                <a:cxn ang="0">
                  <a:pos x="755" y="920"/>
                </a:cxn>
                <a:cxn ang="0">
                  <a:pos x="737" y="1022"/>
                </a:cxn>
                <a:cxn ang="0">
                  <a:pos x="700" y="1090"/>
                </a:cxn>
                <a:cxn ang="0">
                  <a:pos x="665" y="1127"/>
                </a:cxn>
                <a:cxn ang="0">
                  <a:pos x="623" y="1158"/>
                </a:cxn>
                <a:cxn ang="0">
                  <a:pos x="574" y="1180"/>
                </a:cxn>
                <a:cxn ang="0">
                  <a:pos x="518" y="1191"/>
                </a:cxn>
              </a:cxnLst>
              <a:rect l="0" t="0" r="r" b="b"/>
              <a:pathLst>
                <a:path w="982" h="1398">
                  <a:moveTo>
                    <a:pt x="542" y="442"/>
                  </a:moveTo>
                  <a:lnTo>
                    <a:pt x="542" y="442"/>
                  </a:lnTo>
                  <a:lnTo>
                    <a:pt x="511" y="443"/>
                  </a:lnTo>
                  <a:lnTo>
                    <a:pt x="482" y="445"/>
                  </a:lnTo>
                  <a:lnTo>
                    <a:pt x="454" y="449"/>
                  </a:lnTo>
                  <a:lnTo>
                    <a:pt x="429" y="455"/>
                  </a:lnTo>
                  <a:lnTo>
                    <a:pt x="404" y="462"/>
                  </a:lnTo>
                  <a:lnTo>
                    <a:pt x="382" y="470"/>
                  </a:lnTo>
                  <a:lnTo>
                    <a:pt x="361" y="479"/>
                  </a:lnTo>
                  <a:lnTo>
                    <a:pt x="341" y="489"/>
                  </a:lnTo>
                  <a:lnTo>
                    <a:pt x="324" y="499"/>
                  </a:lnTo>
                  <a:lnTo>
                    <a:pt x="307" y="510"/>
                  </a:lnTo>
                  <a:lnTo>
                    <a:pt x="291" y="522"/>
                  </a:lnTo>
                  <a:lnTo>
                    <a:pt x="277" y="534"/>
                  </a:lnTo>
                  <a:lnTo>
                    <a:pt x="265" y="546"/>
                  </a:lnTo>
                  <a:lnTo>
                    <a:pt x="253" y="557"/>
                  </a:lnTo>
                  <a:lnTo>
                    <a:pt x="242" y="569"/>
                  </a:lnTo>
                  <a:lnTo>
                    <a:pt x="233" y="580"/>
                  </a:lnTo>
                  <a:lnTo>
                    <a:pt x="227" y="580"/>
                  </a:lnTo>
                  <a:lnTo>
                    <a:pt x="227" y="0"/>
                  </a:lnTo>
                  <a:lnTo>
                    <a:pt x="0" y="0"/>
                  </a:lnTo>
                  <a:lnTo>
                    <a:pt x="0" y="1375"/>
                  </a:lnTo>
                  <a:lnTo>
                    <a:pt x="216" y="1375"/>
                  </a:lnTo>
                  <a:lnTo>
                    <a:pt x="216" y="1238"/>
                  </a:lnTo>
                  <a:lnTo>
                    <a:pt x="220" y="1238"/>
                  </a:lnTo>
                  <a:lnTo>
                    <a:pt x="220" y="1238"/>
                  </a:lnTo>
                  <a:lnTo>
                    <a:pt x="233" y="1258"/>
                  </a:lnTo>
                  <a:lnTo>
                    <a:pt x="248" y="1277"/>
                  </a:lnTo>
                  <a:lnTo>
                    <a:pt x="263" y="1294"/>
                  </a:lnTo>
                  <a:lnTo>
                    <a:pt x="279" y="1310"/>
                  </a:lnTo>
                  <a:lnTo>
                    <a:pt x="296" y="1324"/>
                  </a:lnTo>
                  <a:lnTo>
                    <a:pt x="315" y="1337"/>
                  </a:lnTo>
                  <a:lnTo>
                    <a:pt x="334" y="1349"/>
                  </a:lnTo>
                  <a:lnTo>
                    <a:pt x="353" y="1360"/>
                  </a:lnTo>
                  <a:lnTo>
                    <a:pt x="374" y="1369"/>
                  </a:lnTo>
                  <a:lnTo>
                    <a:pt x="395" y="1377"/>
                  </a:lnTo>
                  <a:lnTo>
                    <a:pt x="418" y="1383"/>
                  </a:lnTo>
                  <a:lnTo>
                    <a:pt x="440" y="1388"/>
                  </a:lnTo>
                  <a:lnTo>
                    <a:pt x="462" y="1392"/>
                  </a:lnTo>
                  <a:lnTo>
                    <a:pt x="486" y="1395"/>
                  </a:lnTo>
                  <a:lnTo>
                    <a:pt x="509" y="1397"/>
                  </a:lnTo>
                  <a:lnTo>
                    <a:pt x="533" y="1398"/>
                  </a:lnTo>
                  <a:lnTo>
                    <a:pt x="533" y="1398"/>
                  </a:lnTo>
                  <a:lnTo>
                    <a:pt x="559" y="1397"/>
                  </a:lnTo>
                  <a:lnTo>
                    <a:pt x="585" y="1395"/>
                  </a:lnTo>
                  <a:lnTo>
                    <a:pt x="609" y="1392"/>
                  </a:lnTo>
                  <a:lnTo>
                    <a:pt x="633" y="1388"/>
                  </a:lnTo>
                  <a:lnTo>
                    <a:pt x="656" y="1383"/>
                  </a:lnTo>
                  <a:lnTo>
                    <a:pt x="678" y="1377"/>
                  </a:lnTo>
                  <a:lnTo>
                    <a:pt x="701" y="1370"/>
                  </a:lnTo>
                  <a:lnTo>
                    <a:pt x="721" y="1361"/>
                  </a:lnTo>
                  <a:lnTo>
                    <a:pt x="742" y="1351"/>
                  </a:lnTo>
                  <a:lnTo>
                    <a:pt x="762" y="1341"/>
                  </a:lnTo>
                  <a:lnTo>
                    <a:pt x="780" y="1330"/>
                  </a:lnTo>
                  <a:lnTo>
                    <a:pt x="799" y="1318"/>
                  </a:lnTo>
                  <a:lnTo>
                    <a:pt x="816" y="1305"/>
                  </a:lnTo>
                  <a:lnTo>
                    <a:pt x="832" y="1290"/>
                  </a:lnTo>
                  <a:lnTo>
                    <a:pt x="849" y="1275"/>
                  </a:lnTo>
                  <a:lnTo>
                    <a:pt x="863" y="1260"/>
                  </a:lnTo>
                  <a:lnTo>
                    <a:pt x="877" y="1243"/>
                  </a:lnTo>
                  <a:lnTo>
                    <a:pt x="890" y="1226"/>
                  </a:lnTo>
                  <a:lnTo>
                    <a:pt x="903" y="1208"/>
                  </a:lnTo>
                  <a:lnTo>
                    <a:pt x="914" y="1189"/>
                  </a:lnTo>
                  <a:lnTo>
                    <a:pt x="925" y="1170"/>
                  </a:lnTo>
                  <a:lnTo>
                    <a:pt x="935" y="1150"/>
                  </a:lnTo>
                  <a:lnTo>
                    <a:pt x="943" y="1129"/>
                  </a:lnTo>
                  <a:lnTo>
                    <a:pt x="952" y="1108"/>
                  </a:lnTo>
                  <a:lnTo>
                    <a:pt x="959" y="1087"/>
                  </a:lnTo>
                  <a:lnTo>
                    <a:pt x="965" y="1064"/>
                  </a:lnTo>
                  <a:lnTo>
                    <a:pt x="970" y="1041"/>
                  </a:lnTo>
                  <a:lnTo>
                    <a:pt x="975" y="1017"/>
                  </a:lnTo>
                  <a:lnTo>
                    <a:pt x="978" y="994"/>
                  </a:lnTo>
                  <a:lnTo>
                    <a:pt x="980" y="969"/>
                  </a:lnTo>
                  <a:lnTo>
                    <a:pt x="982" y="945"/>
                  </a:lnTo>
                  <a:lnTo>
                    <a:pt x="982" y="920"/>
                  </a:lnTo>
                  <a:lnTo>
                    <a:pt x="982" y="920"/>
                  </a:lnTo>
                  <a:lnTo>
                    <a:pt x="982" y="894"/>
                  </a:lnTo>
                  <a:lnTo>
                    <a:pt x="980" y="870"/>
                  </a:lnTo>
                  <a:lnTo>
                    <a:pt x="978" y="845"/>
                  </a:lnTo>
                  <a:lnTo>
                    <a:pt x="974" y="822"/>
                  </a:lnTo>
                  <a:lnTo>
                    <a:pt x="970" y="798"/>
                  </a:lnTo>
                  <a:lnTo>
                    <a:pt x="964" y="776"/>
                  </a:lnTo>
                  <a:lnTo>
                    <a:pt x="958" y="754"/>
                  </a:lnTo>
                  <a:lnTo>
                    <a:pt x="951" y="731"/>
                  </a:lnTo>
                  <a:lnTo>
                    <a:pt x="942" y="710"/>
                  </a:lnTo>
                  <a:lnTo>
                    <a:pt x="933" y="689"/>
                  </a:lnTo>
                  <a:lnTo>
                    <a:pt x="923" y="669"/>
                  </a:lnTo>
                  <a:lnTo>
                    <a:pt x="912" y="650"/>
                  </a:lnTo>
                  <a:lnTo>
                    <a:pt x="900" y="631"/>
                  </a:lnTo>
                  <a:lnTo>
                    <a:pt x="887" y="613"/>
                  </a:lnTo>
                  <a:lnTo>
                    <a:pt x="874" y="596"/>
                  </a:lnTo>
                  <a:lnTo>
                    <a:pt x="860" y="579"/>
                  </a:lnTo>
                  <a:lnTo>
                    <a:pt x="845" y="564"/>
                  </a:lnTo>
                  <a:lnTo>
                    <a:pt x="829" y="549"/>
                  </a:lnTo>
                  <a:lnTo>
                    <a:pt x="813" y="535"/>
                  </a:lnTo>
                  <a:lnTo>
                    <a:pt x="796" y="522"/>
                  </a:lnTo>
                  <a:lnTo>
                    <a:pt x="778" y="509"/>
                  </a:lnTo>
                  <a:lnTo>
                    <a:pt x="760" y="498"/>
                  </a:lnTo>
                  <a:lnTo>
                    <a:pt x="741" y="488"/>
                  </a:lnTo>
                  <a:lnTo>
                    <a:pt x="720" y="479"/>
                  </a:lnTo>
                  <a:lnTo>
                    <a:pt x="701" y="470"/>
                  </a:lnTo>
                  <a:lnTo>
                    <a:pt x="679" y="462"/>
                  </a:lnTo>
                  <a:lnTo>
                    <a:pt x="658" y="456"/>
                  </a:lnTo>
                  <a:lnTo>
                    <a:pt x="636" y="451"/>
                  </a:lnTo>
                  <a:lnTo>
                    <a:pt x="613" y="447"/>
                  </a:lnTo>
                  <a:lnTo>
                    <a:pt x="590" y="444"/>
                  </a:lnTo>
                  <a:lnTo>
                    <a:pt x="566" y="442"/>
                  </a:lnTo>
                  <a:lnTo>
                    <a:pt x="542" y="442"/>
                  </a:lnTo>
                  <a:lnTo>
                    <a:pt x="542" y="442"/>
                  </a:lnTo>
                  <a:close/>
                  <a:moveTo>
                    <a:pt x="487" y="1193"/>
                  </a:moveTo>
                  <a:lnTo>
                    <a:pt x="487" y="1193"/>
                  </a:lnTo>
                  <a:lnTo>
                    <a:pt x="472" y="1193"/>
                  </a:lnTo>
                  <a:lnTo>
                    <a:pt x="456" y="1191"/>
                  </a:lnTo>
                  <a:lnTo>
                    <a:pt x="442" y="1189"/>
                  </a:lnTo>
                  <a:lnTo>
                    <a:pt x="428" y="1187"/>
                  </a:lnTo>
                  <a:lnTo>
                    <a:pt x="414" y="1183"/>
                  </a:lnTo>
                  <a:lnTo>
                    <a:pt x="400" y="1180"/>
                  </a:lnTo>
                  <a:lnTo>
                    <a:pt x="387" y="1175"/>
                  </a:lnTo>
                  <a:lnTo>
                    <a:pt x="375" y="1170"/>
                  </a:lnTo>
                  <a:lnTo>
                    <a:pt x="363" y="1165"/>
                  </a:lnTo>
                  <a:lnTo>
                    <a:pt x="351" y="1158"/>
                  </a:lnTo>
                  <a:lnTo>
                    <a:pt x="340" y="1152"/>
                  </a:lnTo>
                  <a:lnTo>
                    <a:pt x="329" y="1144"/>
                  </a:lnTo>
                  <a:lnTo>
                    <a:pt x="319" y="1136"/>
                  </a:lnTo>
                  <a:lnTo>
                    <a:pt x="309" y="1127"/>
                  </a:lnTo>
                  <a:lnTo>
                    <a:pt x="299" y="1119"/>
                  </a:lnTo>
                  <a:lnTo>
                    <a:pt x="291" y="1110"/>
                  </a:lnTo>
                  <a:lnTo>
                    <a:pt x="282" y="1100"/>
                  </a:lnTo>
                  <a:lnTo>
                    <a:pt x="275" y="1090"/>
                  </a:lnTo>
                  <a:lnTo>
                    <a:pt x="267" y="1079"/>
                  </a:lnTo>
                  <a:lnTo>
                    <a:pt x="261" y="1068"/>
                  </a:lnTo>
                  <a:lnTo>
                    <a:pt x="249" y="1046"/>
                  </a:lnTo>
                  <a:lnTo>
                    <a:pt x="238" y="1022"/>
                  </a:lnTo>
                  <a:lnTo>
                    <a:pt x="230" y="998"/>
                  </a:lnTo>
                  <a:lnTo>
                    <a:pt x="224" y="973"/>
                  </a:lnTo>
                  <a:lnTo>
                    <a:pt x="221" y="946"/>
                  </a:lnTo>
                  <a:lnTo>
                    <a:pt x="220" y="920"/>
                  </a:lnTo>
                  <a:lnTo>
                    <a:pt x="220" y="920"/>
                  </a:lnTo>
                  <a:lnTo>
                    <a:pt x="221" y="893"/>
                  </a:lnTo>
                  <a:lnTo>
                    <a:pt x="224" y="867"/>
                  </a:lnTo>
                  <a:lnTo>
                    <a:pt x="230" y="841"/>
                  </a:lnTo>
                  <a:lnTo>
                    <a:pt x="238" y="817"/>
                  </a:lnTo>
                  <a:lnTo>
                    <a:pt x="249" y="793"/>
                  </a:lnTo>
                  <a:lnTo>
                    <a:pt x="261" y="771"/>
                  </a:lnTo>
                  <a:lnTo>
                    <a:pt x="267" y="760"/>
                  </a:lnTo>
                  <a:lnTo>
                    <a:pt x="275" y="750"/>
                  </a:lnTo>
                  <a:lnTo>
                    <a:pt x="282" y="739"/>
                  </a:lnTo>
                  <a:lnTo>
                    <a:pt x="291" y="730"/>
                  </a:lnTo>
                  <a:lnTo>
                    <a:pt x="299" y="721"/>
                  </a:lnTo>
                  <a:lnTo>
                    <a:pt x="309" y="712"/>
                  </a:lnTo>
                  <a:lnTo>
                    <a:pt x="319" y="704"/>
                  </a:lnTo>
                  <a:lnTo>
                    <a:pt x="329" y="696"/>
                  </a:lnTo>
                  <a:lnTo>
                    <a:pt x="340" y="688"/>
                  </a:lnTo>
                  <a:lnTo>
                    <a:pt x="351" y="681"/>
                  </a:lnTo>
                  <a:lnTo>
                    <a:pt x="363" y="675"/>
                  </a:lnTo>
                  <a:lnTo>
                    <a:pt x="375" y="669"/>
                  </a:lnTo>
                  <a:lnTo>
                    <a:pt x="387" y="664"/>
                  </a:lnTo>
                  <a:lnTo>
                    <a:pt x="400" y="660"/>
                  </a:lnTo>
                  <a:lnTo>
                    <a:pt x="414" y="656"/>
                  </a:lnTo>
                  <a:lnTo>
                    <a:pt x="428" y="653"/>
                  </a:lnTo>
                  <a:lnTo>
                    <a:pt x="442" y="650"/>
                  </a:lnTo>
                  <a:lnTo>
                    <a:pt x="456" y="648"/>
                  </a:lnTo>
                  <a:lnTo>
                    <a:pt x="472" y="647"/>
                  </a:lnTo>
                  <a:lnTo>
                    <a:pt x="487" y="647"/>
                  </a:lnTo>
                  <a:lnTo>
                    <a:pt x="487" y="647"/>
                  </a:lnTo>
                  <a:lnTo>
                    <a:pt x="502" y="647"/>
                  </a:lnTo>
                  <a:lnTo>
                    <a:pt x="518" y="648"/>
                  </a:lnTo>
                  <a:lnTo>
                    <a:pt x="533" y="650"/>
                  </a:lnTo>
                  <a:lnTo>
                    <a:pt x="547" y="653"/>
                  </a:lnTo>
                  <a:lnTo>
                    <a:pt x="560" y="656"/>
                  </a:lnTo>
                  <a:lnTo>
                    <a:pt x="574" y="660"/>
                  </a:lnTo>
                  <a:lnTo>
                    <a:pt x="587" y="664"/>
                  </a:lnTo>
                  <a:lnTo>
                    <a:pt x="600" y="669"/>
                  </a:lnTo>
                  <a:lnTo>
                    <a:pt x="611" y="675"/>
                  </a:lnTo>
                  <a:lnTo>
                    <a:pt x="623" y="681"/>
                  </a:lnTo>
                  <a:lnTo>
                    <a:pt x="635" y="688"/>
                  </a:lnTo>
                  <a:lnTo>
                    <a:pt x="645" y="696"/>
                  </a:lnTo>
                  <a:lnTo>
                    <a:pt x="656" y="704"/>
                  </a:lnTo>
                  <a:lnTo>
                    <a:pt x="665" y="712"/>
                  </a:lnTo>
                  <a:lnTo>
                    <a:pt x="674" y="721"/>
                  </a:lnTo>
                  <a:lnTo>
                    <a:pt x="684" y="730"/>
                  </a:lnTo>
                  <a:lnTo>
                    <a:pt x="692" y="739"/>
                  </a:lnTo>
                  <a:lnTo>
                    <a:pt x="700" y="750"/>
                  </a:lnTo>
                  <a:lnTo>
                    <a:pt x="707" y="760"/>
                  </a:lnTo>
                  <a:lnTo>
                    <a:pt x="714" y="771"/>
                  </a:lnTo>
                  <a:lnTo>
                    <a:pt x="726" y="793"/>
                  </a:lnTo>
                  <a:lnTo>
                    <a:pt x="737" y="817"/>
                  </a:lnTo>
                  <a:lnTo>
                    <a:pt x="745" y="841"/>
                  </a:lnTo>
                  <a:lnTo>
                    <a:pt x="750" y="867"/>
                  </a:lnTo>
                  <a:lnTo>
                    <a:pt x="754" y="893"/>
                  </a:lnTo>
                  <a:lnTo>
                    <a:pt x="755" y="920"/>
                  </a:lnTo>
                  <a:lnTo>
                    <a:pt x="755" y="920"/>
                  </a:lnTo>
                  <a:lnTo>
                    <a:pt x="754" y="946"/>
                  </a:lnTo>
                  <a:lnTo>
                    <a:pt x="750" y="973"/>
                  </a:lnTo>
                  <a:lnTo>
                    <a:pt x="745" y="998"/>
                  </a:lnTo>
                  <a:lnTo>
                    <a:pt x="737" y="1022"/>
                  </a:lnTo>
                  <a:lnTo>
                    <a:pt x="726" y="1046"/>
                  </a:lnTo>
                  <a:lnTo>
                    <a:pt x="714" y="1068"/>
                  </a:lnTo>
                  <a:lnTo>
                    <a:pt x="707" y="1079"/>
                  </a:lnTo>
                  <a:lnTo>
                    <a:pt x="700" y="1090"/>
                  </a:lnTo>
                  <a:lnTo>
                    <a:pt x="692" y="1100"/>
                  </a:lnTo>
                  <a:lnTo>
                    <a:pt x="684" y="1110"/>
                  </a:lnTo>
                  <a:lnTo>
                    <a:pt x="674" y="1119"/>
                  </a:lnTo>
                  <a:lnTo>
                    <a:pt x="665" y="1127"/>
                  </a:lnTo>
                  <a:lnTo>
                    <a:pt x="656" y="1136"/>
                  </a:lnTo>
                  <a:lnTo>
                    <a:pt x="645" y="1144"/>
                  </a:lnTo>
                  <a:lnTo>
                    <a:pt x="635" y="1152"/>
                  </a:lnTo>
                  <a:lnTo>
                    <a:pt x="623" y="1158"/>
                  </a:lnTo>
                  <a:lnTo>
                    <a:pt x="611" y="1165"/>
                  </a:lnTo>
                  <a:lnTo>
                    <a:pt x="600" y="1170"/>
                  </a:lnTo>
                  <a:lnTo>
                    <a:pt x="587" y="1175"/>
                  </a:lnTo>
                  <a:lnTo>
                    <a:pt x="574" y="1180"/>
                  </a:lnTo>
                  <a:lnTo>
                    <a:pt x="560" y="1183"/>
                  </a:lnTo>
                  <a:lnTo>
                    <a:pt x="547" y="1187"/>
                  </a:lnTo>
                  <a:lnTo>
                    <a:pt x="533" y="1189"/>
                  </a:lnTo>
                  <a:lnTo>
                    <a:pt x="518" y="1191"/>
                  </a:lnTo>
                  <a:lnTo>
                    <a:pt x="502" y="1193"/>
                  </a:lnTo>
                  <a:lnTo>
                    <a:pt x="487" y="1193"/>
                  </a:lnTo>
                  <a:lnTo>
                    <a:pt x="487" y="119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31"/>
            <p:cNvSpPr>
              <a:spLocks noEditPoints="1"/>
            </p:cNvSpPr>
            <p:nvPr/>
          </p:nvSpPr>
          <p:spPr bwMode="auto">
            <a:xfrm>
              <a:off x="5229225" y="5346700"/>
              <a:ext cx="731837" cy="758825"/>
            </a:xfrm>
            <a:custGeom>
              <a:avLst/>
              <a:gdLst/>
              <a:ahLst/>
              <a:cxnLst>
                <a:cxn ang="0">
                  <a:pos x="231" y="363"/>
                </a:cxn>
                <a:cxn ang="0">
                  <a:pos x="253" y="297"/>
                </a:cxn>
                <a:cxn ang="0">
                  <a:pos x="286" y="244"/>
                </a:cxn>
                <a:cxn ang="0">
                  <a:pos x="333" y="205"/>
                </a:cxn>
                <a:cxn ang="0">
                  <a:pos x="392" y="179"/>
                </a:cxn>
                <a:cxn ang="0">
                  <a:pos x="463" y="170"/>
                </a:cxn>
                <a:cxn ang="0">
                  <a:pos x="514" y="174"/>
                </a:cxn>
                <a:cxn ang="0">
                  <a:pos x="579" y="193"/>
                </a:cxn>
                <a:cxn ang="0">
                  <a:pos x="631" y="229"/>
                </a:cxn>
                <a:cxn ang="0">
                  <a:pos x="668" y="278"/>
                </a:cxn>
                <a:cxn ang="0">
                  <a:pos x="690" y="339"/>
                </a:cxn>
                <a:cxn ang="0">
                  <a:pos x="227" y="387"/>
                </a:cxn>
                <a:cxn ang="0">
                  <a:pos x="922" y="495"/>
                </a:cxn>
                <a:cxn ang="0">
                  <a:pos x="917" y="409"/>
                </a:cxn>
                <a:cxn ang="0">
                  <a:pos x="904" y="332"/>
                </a:cxn>
                <a:cxn ang="0">
                  <a:pos x="882" y="262"/>
                </a:cxn>
                <a:cxn ang="0">
                  <a:pos x="854" y="200"/>
                </a:cxn>
                <a:cxn ang="0">
                  <a:pos x="817" y="145"/>
                </a:cxn>
                <a:cxn ang="0">
                  <a:pos x="774" y="99"/>
                </a:cxn>
                <a:cxn ang="0">
                  <a:pos x="724" y="61"/>
                </a:cxn>
                <a:cxn ang="0">
                  <a:pos x="668" y="33"/>
                </a:cxn>
                <a:cxn ang="0">
                  <a:pos x="607" y="12"/>
                </a:cxn>
                <a:cxn ang="0">
                  <a:pos x="541" y="2"/>
                </a:cxn>
                <a:cxn ang="0">
                  <a:pos x="495" y="0"/>
                </a:cxn>
                <a:cxn ang="0">
                  <a:pos x="419" y="5"/>
                </a:cxn>
                <a:cxn ang="0">
                  <a:pos x="346" y="19"/>
                </a:cxn>
                <a:cxn ang="0">
                  <a:pos x="279" y="43"/>
                </a:cxn>
                <a:cxn ang="0">
                  <a:pos x="217" y="75"/>
                </a:cxn>
                <a:cxn ang="0">
                  <a:pos x="161" y="116"/>
                </a:cxn>
                <a:cxn ang="0">
                  <a:pos x="112" y="164"/>
                </a:cxn>
                <a:cxn ang="0">
                  <a:pos x="71" y="220"/>
                </a:cxn>
                <a:cxn ang="0">
                  <a:pos x="39" y="282"/>
                </a:cxn>
                <a:cxn ang="0">
                  <a:pos x="15" y="350"/>
                </a:cxn>
                <a:cxn ang="0">
                  <a:pos x="2" y="425"/>
                </a:cxn>
                <a:cxn ang="0">
                  <a:pos x="0" y="478"/>
                </a:cxn>
                <a:cxn ang="0">
                  <a:pos x="5" y="556"/>
                </a:cxn>
                <a:cxn ang="0">
                  <a:pos x="21" y="628"/>
                </a:cxn>
                <a:cxn ang="0">
                  <a:pos x="48" y="694"/>
                </a:cxn>
                <a:cxn ang="0">
                  <a:pos x="84" y="755"/>
                </a:cxn>
                <a:cxn ang="0">
                  <a:pos x="127" y="809"/>
                </a:cxn>
                <a:cxn ang="0">
                  <a:pos x="179" y="853"/>
                </a:cxn>
                <a:cxn ang="0">
                  <a:pos x="237" y="892"/>
                </a:cxn>
                <a:cxn ang="0">
                  <a:pos x="302" y="922"/>
                </a:cxn>
                <a:cxn ang="0">
                  <a:pos x="371" y="942"/>
                </a:cxn>
                <a:cxn ang="0">
                  <a:pos x="444" y="953"/>
                </a:cxn>
                <a:cxn ang="0">
                  <a:pos x="495" y="956"/>
                </a:cxn>
                <a:cxn ang="0">
                  <a:pos x="575" y="950"/>
                </a:cxn>
                <a:cxn ang="0">
                  <a:pos x="652" y="933"/>
                </a:cxn>
                <a:cxn ang="0">
                  <a:pos x="725" y="902"/>
                </a:cxn>
                <a:cxn ang="0">
                  <a:pos x="796" y="857"/>
                </a:cxn>
                <a:cxn ang="0">
                  <a:pos x="860" y="797"/>
                </a:cxn>
                <a:cxn ang="0">
                  <a:pos x="717" y="651"/>
                </a:cxn>
                <a:cxn ang="0">
                  <a:pos x="683" y="687"/>
                </a:cxn>
                <a:cxn ang="0">
                  <a:pos x="645" y="720"/>
                </a:cxn>
                <a:cxn ang="0">
                  <a:pos x="600" y="746"/>
                </a:cxn>
                <a:cxn ang="0">
                  <a:pos x="550" y="765"/>
                </a:cxn>
                <a:cxn ang="0">
                  <a:pos x="493" y="773"/>
                </a:cxn>
                <a:cxn ang="0">
                  <a:pos x="448" y="773"/>
                </a:cxn>
                <a:cxn ang="0">
                  <a:pos x="382" y="759"/>
                </a:cxn>
                <a:cxn ang="0">
                  <a:pos x="325" y="729"/>
                </a:cxn>
                <a:cxn ang="0">
                  <a:pos x="278" y="685"/>
                </a:cxn>
                <a:cxn ang="0">
                  <a:pos x="245" y="627"/>
                </a:cxn>
                <a:cxn ang="0">
                  <a:pos x="227" y="557"/>
                </a:cxn>
              </a:cxnLst>
              <a:rect l="0" t="0" r="r" b="b"/>
              <a:pathLst>
                <a:path w="922" h="956">
                  <a:moveTo>
                    <a:pt x="227" y="387"/>
                  </a:moveTo>
                  <a:lnTo>
                    <a:pt x="227" y="387"/>
                  </a:lnTo>
                  <a:lnTo>
                    <a:pt x="231" y="363"/>
                  </a:lnTo>
                  <a:lnTo>
                    <a:pt x="236" y="340"/>
                  </a:lnTo>
                  <a:lnTo>
                    <a:pt x="244" y="318"/>
                  </a:lnTo>
                  <a:lnTo>
                    <a:pt x="253" y="297"/>
                  </a:lnTo>
                  <a:lnTo>
                    <a:pt x="262" y="278"/>
                  </a:lnTo>
                  <a:lnTo>
                    <a:pt x="274" y="261"/>
                  </a:lnTo>
                  <a:lnTo>
                    <a:pt x="286" y="244"/>
                  </a:lnTo>
                  <a:lnTo>
                    <a:pt x="301" y="229"/>
                  </a:lnTo>
                  <a:lnTo>
                    <a:pt x="317" y="216"/>
                  </a:lnTo>
                  <a:lnTo>
                    <a:pt x="333" y="205"/>
                  </a:lnTo>
                  <a:lnTo>
                    <a:pt x="352" y="194"/>
                  </a:lnTo>
                  <a:lnTo>
                    <a:pt x="372" y="185"/>
                  </a:lnTo>
                  <a:lnTo>
                    <a:pt x="392" y="179"/>
                  </a:lnTo>
                  <a:lnTo>
                    <a:pt x="415" y="174"/>
                  </a:lnTo>
                  <a:lnTo>
                    <a:pt x="438" y="171"/>
                  </a:lnTo>
                  <a:lnTo>
                    <a:pt x="463" y="170"/>
                  </a:lnTo>
                  <a:lnTo>
                    <a:pt x="463" y="170"/>
                  </a:lnTo>
                  <a:lnTo>
                    <a:pt x="489" y="171"/>
                  </a:lnTo>
                  <a:lnTo>
                    <a:pt x="514" y="174"/>
                  </a:lnTo>
                  <a:lnTo>
                    <a:pt x="537" y="179"/>
                  </a:lnTo>
                  <a:lnTo>
                    <a:pt x="558" y="185"/>
                  </a:lnTo>
                  <a:lnTo>
                    <a:pt x="579" y="193"/>
                  </a:lnTo>
                  <a:lnTo>
                    <a:pt x="598" y="204"/>
                  </a:lnTo>
                  <a:lnTo>
                    <a:pt x="615" y="216"/>
                  </a:lnTo>
                  <a:lnTo>
                    <a:pt x="631" y="229"/>
                  </a:lnTo>
                  <a:lnTo>
                    <a:pt x="645" y="243"/>
                  </a:lnTo>
                  <a:lnTo>
                    <a:pt x="657" y="260"/>
                  </a:lnTo>
                  <a:lnTo>
                    <a:pt x="668" y="278"/>
                  </a:lnTo>
                  <a:lnTo>
                    <a:pt x="678" y="297"/>
                  </a:lnTo>
                  <a:lnTo>
                    <a:pt x="685" y="318"/>
                  </a:lnTo>
                  <a:lnTo>
                    <a:pt x="690" y="339"/>
                  </a:lnTo>
                  <a:lnTo>
                    <a:pt x="693" y="363"/>
                  </a:lnTo>
                  <a:lnTo>
                    <a:pt x="694" y="387"/>
                  </a:lnTo>
                  <a:lnTo>
                    <a:pt x="227" y="387"/>
                  </a:lnTo>
                  <a:close/>
                  <a:moveTo>
                    <a:pt x="922" y="557"/>
                  </a:moveTo>
                  <a:lnTo>
                    <a:pt x="922" y="495"/>
                  </a:lnTo>
                  <a:lnTo>
                    <a:pt x="922" y="495"/>
                  </a:lnTo>
                  <a:lnTo>
                    <a:pt x="921" y="465"/>
                  </a:lnTo>
                  <a:lnTo>
                    <a:pt x="920" y="437"/>
                  </a:lnTo>
                  <a:lnTo>
                    <a:pt x="917" y="409"/>
                  </a:lnTo>
                  <a:lnTo>
                    <a:pt x="914" y="383"/>
                  </a:lnTo>
                  <a:lnTo>
                    <a:pt x="910" y="356"/>
                  </a:lnTo>
                  <a:lnTo>
                    <a:pt x="904" y="332"/>
                  </a:lnTo>
                  <a:lnTo>
                    <a:pt x="898" y="308"/>
                  </a:lnTo>
                  <a:lnTo>
                    <a:pt x="890" y="284"/>
                  </a:lnTo>
                  <a:lnTo>
                    <a:pt x="882" y="262"/>
                  </a:lnTo>
                  <a:lnTo>
                    <a:pt x="874" y="239"/>
                  </a:lnTo>
                  <a:lnTo>
                    <a:pt x="864" y="219"/>
                  </a:lnTo>
                  <a:lnTo>
                    <a:pt x="854" y="200"/>
                  </a:lnTo>
                  <a:lnTo>
                    <a:pt x="843" y="180"/>
                  </a:lnTo>
                  <a:lnTo>
                    <a:pt x="830" y="162"/>
                  </a:lnTo>
                  <a:lnTo>
                    <a:pt x="817" y="145"/>
                  </a:lnTo>
                  <a:lnTo>
                    <a:pt x="804" y="128"/>
                  </a:lnTo>
                  <a:lnTo>
                    <a:pt x="790" y="113"/>
                  </a:lnTo>
                  <a:lnTo>
                    <a:pt x="774" y="99"/>
                  </a:lnTo>
                  <a:lnTo>
                    <a:pt x="758" y="86"/>
                  </a:lnTo>
                  <a:lnTo>
                    <a:pt x="742" y="73"/>
                  </a:lnTo>
                  <a:lnTo>
                    <a:pt x="724" y="61"/>
                  </a:lnTo>
                  <a:lnTo>
                    <a:pt x="706" y="51"/>
                  </a:lnTo>
                  <a:lnTo>
                    <a:pt x="688" y="41"/>
                  </a:lnTo>
                  <a:lnTo>
                    <a:pt x="668" y="33"/>
                  </a:lnTo>
                  <a:lnTo>
                    <a:pt x="649" y="25"/>
                  </a:lnTo>
                  <a:lnTo>
                    <a:pt x="629" y="18"/>
                  </a:lnTo>
                  <a:lnTo>
                    <a:pt x="607" y="12"/>
                  </a:lnTo>
                  <a:lnTo>
                    <a:pt x="586" y="8"/>
                  </a:lnTo>
                  <a:lnTo>
                    <a:pt x="564" y="4"/>
                  </a:lnTo>
                  <a:lnTo>
                    <a:pt x="541" y="2"/>
                  </a:lnTo>
                  <a:lnTo>
                    <a:pt x="519" y="0"/>
                  </a:lnTo>
                  <a:lnTo>
                    <a:pt x="495" y="0"/>
                  </a:lnTo>
                  <a:lnTo>
                    <a:pt x="495" y="0"/>
                  </a:lnTo>
                  <a:lnTo>
                    <a:pt x="469" y="0"/>
                  </a:lnTo>
                  <a:lnTo>
                    <a:pt x="444" y="2"/>
                  </a:lnTo>
                  <a:lnTo>
                    <a:pt x="419" y="5"/>
                  </a:lnTo>
                  <a:lnTo>
                    <a:pt x="394" y="8"/>
                  </a:lnTo>
                  <a:lnTo>
                    <a:pt x="371" y="13"/>
                  </a:lnTo>
                  <a:lnTo>
                    <a:pt x="346" y="19"/>
                  </a:lnTo>
                  <a:lnTo>
                    <a:pt x="324" y="26"/>
                  </a:lnTo>
                  <a:lnTo>
                    <a:pt x="302" y="35"/>
                  </a:lnTo>
                  <a:lnTo>
                    <a:pt x="279" y="43"/>
                  </a:lnTo>
                  <a:lnTo>
                    <a:pt x="258" y="53"/>
                  </a:lnTo>
                  <a:lnTo>
                    <a:pt x="237" y="64"/>
                  </a:lnTo>
                  <a:lnTo>
                    <a:pt x="217" y="75"/>
                  </a:lnTo>
                  <a:lnTo>
                    <a:pt x="198" y="88"/>
                  </a:lnTo>
                  <a:lnTo>
                    <a:pt x="179" y="102"/>
                  </a:lnTo>
                  <a:lnTo>
                    <a:pt x="161" y="116"/>
                  </a:lnTo>
                  <a:lnTo>
                    <a:pt x="144" y="131"/>
                  </a:lnTo>
                  <a:lnTo>
                    <a:pt x="127" y="148"/>
                  </a:lnTo>
                  <a:lnTo>
                    <a:pt x="112" y="164"/>
                  </a:lnTo>
                  <a:lnTo>
                    <a:pt x="98" y="182"/>
                  </a:lnTo>
                  <a:lnTo>
                    <a:pt x="84" y="201"/>
                  </a:lnTo>
                  <a:lnTo>
                    <a:pt x="71" y="220"/>
                  </a:lnTo>
                  <a:lnTo>
                    <a:pt x="59" y="240"/>
                  </a:lnTo>
                  <a:lnTo>
                    <a:pt x="48" y="261"/>
                  </a:lnTo>
                  <a:lnTo>
                    <a:pt x="39" y="282"/>
                  </a:lnTo>
                  <a:lnTo>
                    <a:pt x="30" y="304"/>
                  </a:lnTo>
                  <a:lnTo>
                    <a:pt x="21" y="327"/>
                  </a:lnTo>
                  <a:lnTo>
                    <a:pt x="15" y="350"/>
                  </a:lnTo>
                  <a:lnTo>
                    <a:pt x="9" y="375"/>
                  </a:lnTo>
                  <a:lnTo>
                    <a:pt x="5" y="399"/>
                  </a:lnTo>
                  <a:lnTo>
                    <a:pt x="2" y="425"/>
                  </a:lnTo>
                  <a:lnTo>
                    <a:pt x="0" y="451"/>
                  </a:lnTo>
                  <a:lnTo>
                    <a:pt x="0" y="478"/>
                  </a:lnTo>
                  <a:lnTo>
                    <a:pt x="0" y="478"/>
                  </a:lnTo>
                  <a:lnTo>
                    <a:pt x="0" y="504"/>
                  </a:lnTo>
                  <a:lnTo>
                    <a:pt x="2" y="531"/>
                  </a:lnTo>
                  <a:lnTo>
                    <a:pt x="5" y="556"/>
                  </a:lnTo>
                  <a:lnTo>
                    <a:pt x="9" y="580"/>
                  </a:lnTo>
                  <a:lnTo>
                    <a:pt x="15" y="605"/>
                  </a:lnTo>
                  <a:lnTo>
                    <a:pt x="21" y="628"/>
                  </a:lnTo>
                  <a:lnTo>
                    <a:pt x="30" y="651"/>
                  </a:lnTo>
                  <a:lnTo>
                    <a:pt x="39" y="673"/>
                  </a:lnTo>
                  <a:lnTo>
                    <a:pt x="48" y="694"/>
                  </a:lnTo>
                  <a:lnTo>
                    <a:pt x="59" y="716"/>
                  </a:lnTo>
                  <a:lnTo>
                    <a:pt x="71" y="735"/>
                  </a:lnTo>
                  <a:lnTo>
                    <a:pt x="84" y="755"/>
                  </a:lnTo>
                  <a:lnTo>
                    <a:pt x="98" y="773"/>
                  </a:lnTo>
                  <a:lnTo>
                    <a:pt x="112" y="791"/>
                  </a:lnTo>
                  <a:lnTo>
                    <a:pt x="127" y="809"/>
                  </a:lnTo>
                  <a:lnTo>
                    <a:pt x="144" y="824"/>
                  </a:lnTo>
                  <a:lnTo>
                    <a:pt x="161" y="839"/>
                  </a:lnTo>
                  <a:lnTo>
                    <a:pt x="179" y="853"/>
                  </a:lnTo>
                  <a:lnTo>
                    <a:pt x="198" y="868"/>
                  </a:lnTo>
                  <a:lnTo>
                    <a:pt x="217" y="880"/>
                  </a:lnTo>
                  <a:lnTo>
                    <a:pt x="237" y="892"/>
                  </a:lnTo>
                  <a:lnTo>
                    <a:pt x="258" y="902"/>
                  </a:lnTo>
                  <a:lnTo>
                    <a:pt x="279" y="912"/>
                  </a:lnTo>
                  <a:lnTo>
                    <a:pt x="302" y="922"/>
                  </a:lnTo>
                  <a:lnTo>
                    <a:pt x="324" y="930"/>
                  </a:lnTo>
                  <a:lnTo>
                    <a:pt x="346" y="936"/>
                  </a:lnTo>
                  <a:lnTo>
                    <a:pt x="371" y="942"/>
                  </a:lnTo>
                  <a:lnTo>
                    <a:pt x="394" y="947"/>
                  </a:lnTo>
                  <a:lnTo>
                    <a:pt x="419" y="951"/>
                  </a:lnTo>
                  <a:lnTo>
                    <a:pt x="444" y="953"/>
                  </a:lnTo>
                  <a:lnTo>
                    <a:pt x="469" y="955"/>
                  </a:lnTo>
                  <a:lnTo>
                    <a:pt x="495" y="956"/>
                  </a:lnTo>
                  <a:lnTo>
                    <a:pt x="495" y="956"/>
                  </a:lnTo>
                  <a:lnTo>
                    <a:pt x="522" y="955"/>
                  </a:lnTo>
                  <a:lnTo>
                    <a:pt x="548" y="953"/>
                  </a:lnTo>
                  <a:lnTo>
                    <a:pt x="575" y="950"/>
                  </a:lnTo>
                  <a:lnTo>
                    <a:pt x="601" y="946"/>
                  </a:lnTo>
                  <a:lnTo>
                    <a:pt x="627" y="940"/>
                  </a:lnTo>
                  <a:lnTo>
                    <a:pt x="652" y="933"/>
                  </a:lnTo>
                  <a:lnTo>
                    <a:pt x="677" y="924"/>
                  </a:lnTo>
                  <a:lnTo>
                    <a:pt x="702" y="913"/>
                  </a:lnTo>
                  <a:lnTo>
                    <a:pt x="725" y="902"/>
                  </a:lnTo>
                  <a:lnTo>
                    <a:pt x="750" y="889"/>
                  </a:lnTo>
                  <a:lnTo>
                    <a:pt x="772" y="874"/>
                  </a:lnTo>
                  <a:lnTo>
                    <a:pt x="796" y="857"/>
                  </a:lnTo>
                  <a:lnTo>
                    <a:pt x="817" y="839"/>
                  </a:lnTo>
                  <a:lnTo>
                    <a:pt x="839" y="819"/>
                  </a:lnTo>
                  <a:lnTo>
                    <a:pt x="860" y="797"/>
                  </a:lnTo>
                  <a:lnTo>
                    <a:pt x="880" y="774"/>
                  </a:lnTo>
                  <a:lnTo>
                    <a:pt x="717" y="651"/>
                  </a:lnTo>
                  <a:lnTo>
                    <a:pt x="717" y="651"/>
                  </a:lnTo>
                  <a:lnTo>
                    <a:pt x="706" y="663"/>
                  </a:lnTo>
                  <a:lnTo>
                    <a:pt x="695" y="676"/>
                  </a:lnTo>
                  <a:lnTo>
                    <a:pt x="683" y="687"/>
                  </a:lnTo>
                  <a:lnTo>
                    <a:pt x="670" y="700"/>
                  </a:lnTo>
                  <a:lnTo>
                    <a:pt x="658" y="710"/>
                  </a:lnTo>
                  <a:lnTo>
                    <a:pt x="645" y="720"/>
                  </a:lnTo>
                  <a:lnTo>
                    <a:pt x="631" y="730"/>
                  </a:lnTo>
                  <a:lnTo>
                    <a:pt x="615" y="738"/>
                  </a:lnTo>
                  <a:lnTo>
                    <a:pt x="600" y="746"/>
                  </a:lnTo>
                  <a:lnTo>
                    <a:pt x="585" y="754"/>
                  </a:lnTo>
                  <a:lnTo>
                    <a:pt x="568" y="760"/>
                  </a:lnTo>
                  <a:lnTo>
                    <a:pt x="550" y="765"/>
                  </a:lnTo>
                  <a:lnTo>
                    <a:pt x="532" y="768"/>
                  </a:lnTo>
                  <a:lnTo>
                    <a:pt x="514" y="771"/>
                  </a:lnTo>
                  <a:lnTo>
                    <a:pt x="493" y="773"/>
                  </a:lnTo>
                  <a:lnTo>
                    <a:pt x="473" y="774"/>
                  </a:lnTo>
                  <a:lnTo>
                    <a:pt x="473" y="774"/>
                  </a:lnTo>
                  <a:lnTo>
                    <a:pt x="448" y="773"/>
                  </a:lnTo>
                  <a:lnTo>
                    <a:pt x="426" y="770"/>
                  </a:lnTo>
                  <a:lnTo>
                    <a:pt x="403" y="766"/>
                  </a:lnTo>
                  <a:lnTo>
                    <a:pt x="382" y="759"/>
                  </a:lnTo>
                  <a:lnTo>
                    <a:pt x="362" y="751"/>
                  </a:lnTo>
                  <a:lnTo>
                    <a:pt x="342" y="740"/>
                  </a:lnTo>
                  <a:lnTo>
                    <a:pt x="325" y="729"/>
                  </a:lnTo>
                  <a:lnTo>
                    <a:pt x="308" y="716"/>
                  </a:lnTo>
                  <a:lnTo>
                    <a:pt x="292" y="702"/>
                  </a:lnTo>
                  <a:lnTo>
                    <a:pt x="278" y="685"/>
                  </a:lnTo>
                  <a:lnTo>
                    <a:pt x="265" y="667"/>
                  </a:lnTo>
                  <a:lnTo>
                    <a:pt x="254" y="648"/>
                  </a:lnTo>
                  <a:lnTo>
                    <a:pt x="245" y="627"/>
                  </a:lnTo>
                  <a:lnTo>
                    <a:pt x="237" y="605"/>
                  </a:lnTo>
                  <a:lnTo>
                    <a:pt x="231" y="581"/>
                  </a:lnTo>
                  <a:lnTo>
                    <a:pt x="227" y="557"/>
                  </a:lnTo>
                  <a:lnTo>
                    <a:pt x="922" y="5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32"/>
            <p:cNvSpPr>
              <a:spLocks/>
            </p:cNvSpPr>
            <p:nvPr/>
          </p:nvSpPr>
          <p:spPr bwMode="auto">
            <a:xfrm>
              <a:off x="6078538" y="5346700"/>
              <a:ext cx="461962" cy="739775"/>
            </a:xfrm>
            <a:custGeom>
              <a:avLst/>
              <a:gdLst/>
              <a:ahLst/>
              <a:cxnLst>
                <a:cxn ang="0">
                  <a:pos x="0" y="22"/>
                </a:cxn>
                <a:cxn ang="0">
                  <a:pos x="228" y="22"/>
                </a:cxn>
                <a:cxn ang="0">
                  <a:pos x="228" y="167"/>
                </a:cxn>
                <a:cxn ang="0">
                  <a:pos x="232" y="167"/>
                </a:cxn>
                <a:cxn ang="0">
                  <a:pos x="232" y="167"/>
                </a:cxn>
                <a:cxn ang="0">
                  <a:pos x="241" y="148"/>
                </a:cxn>
                <a:cxn ang="0">
                  <a:pos x="252" y="129"/>
                </a:cxn>
                <a:cxn ang="0">
                  <a:pos x="265" y="112"/>
                </a:cxn>
                <a:cxn ang="0">
                  <a:pos x="278" y="97"/>
                </a:cxn>
                <a:cxn ang="0">
                  <a:pos x="292" y="81"/>
                </a:cxn>
                <a:cxn ang="0">
                  <a:pos x="307" y="68"/>
                </a:cxn>
                <a:cxn ang="0">
                  <a:pos x="324" y="55"/>
                </a:cxn>
                <a:cxn ang="0">
                  <a:pos x="340" y="44"/>
                </a:cxn>
                <a:cxn ang="0">
                  <a:pos x="358" y="34"/>
                </a:cxn>
                <a:cxn ang="0">
                  <a:pos x="377" y="25"/>
                </a:cxn>
                <a:cxn ang="0">
                  <a:pos x="396" y="17"/>
                </a:cxn>
                <a:cxn ang="0">
                  <a:pos x="415" y="11"/>
                </a:cxn>
                <a:cxn ang="0">
                  <a:pos x="436" y="6"/>
                </a:cxn>
                <a:cxn ang="0">
                  <a:pos x="457" y="3"/>
                </a:cxn>
                <a:cxn ang="0">
                  <a:pos x="480" y="0"/>
                </a:cxn>
                <a:cxn ang="0">
                  <a:pos x="501" y="0"/>
                </a:cxn>
                <a:cxn ang="0">
                  <a:pos x="501" y="0"/>
                </a:cxn>
                <a:cxn ang="0">
                  <a:pos x="522" y="1"/>
                </a:cxn>
                <a:cxn ang="0">
                  <a:pos x="543" y="3"/>
                </a:cxn>
                <a:cxn ang="0">
                  <a:pos x="563" y="8"/>
                </a:cxn>
                <a:cxn ang="0">
                  <a:pos x="583" y="13"/>
                </a:cxn>
                <a:cxn ang="0">
                  <a:pos x="583" y="233"/>
                </a:cxn>
                <a:cxn ang="0">
                  <a:pos x="583" y="233"/>
                </a:cxn>
                <a:cxn ang="0">
                  <a:pos x="555" y="226"/>
                </a:cxn>
                <a:cxn ang="0">
                  <a:pos x="528" y="221"/>
                </a:cxn>
                <a:cxn ang="0">
                  <a:pos x="500" y="218"/>
                </a:cxn>
                <a:cxn ang="0">
                  <a:pos x="486" y="217"/>
                </a:cxn>
                <a:cxn ang="0">
                  <a:pos x="473" y="216"/>
                </a:cxn>
                <a:cxn ang="0">
                  <a:pos x="473" y="216"/>
                </a:cxn>
                <a:cxn ang="0">
                  <a:pos x="453" y="217"/>
                </a:cxn>
                <a:cxn ang="0">
                  <a:pos x="435" y="218"/>
                </a:cxn>
                <a:cxn ang="0">
                  <a:pos x="418" y="221"/>
                </a:cxn>
                <a:cxn ang="0">
                  <a:pos x="400" y="224"/>
                </a:cxn>
                <a:cxn ang="0">
                  <a:pos x="385" y="228"/>
                </a:cxn>
                <a:cxn ang="0">
                  <a:pos x="371" y="233"/>
                </a:cxn>
                <a:cxn ang="0">
                  <a:pos x="356" y="238"/>
                </a:cxn>
                <a:cxn ang="0">
                  <a:pos x="344" y="245"/>
                </a:cxn>
                <a:cxn ang="0">
                  <a:pos x="332" y="252"/>
                </a:cxn>
                <a:cxn ang="0">
                  <a:pos x="321" y="260"/>
                </a:cxn>
                <a:cxn ang="0">
                  <a:pos x="311" y="268"/>
                </a:cxn>
                <a:cxn ang="0">
                  <a:pos x="301" y="276"/>
                </a:cxn>
                <a:cxn ang="0">
                  <a:pos x="292" y="284"/>
                </a:cxn>
                <a:cxn ang="0">
                  <a:pos x="284" y="293"/>
                </a:cxn>
                <a:cxn ang="0">
                  <a:pos x="277" y="302"/>
                </a:cxn>
                <a:cxn ang="0">
                  <a:pos x="270" y="313"/>
                </a:cxn>
                <a:cxn ang="0">
                  <a:pos x="259" y="332"/>
                </a:cxn>
                <a:cxn ang="0">
                  <a:pos x="248" y="351"/>
                </a:cxn>
                <a:cxn ang="0">
                  <a:pos x="241" y="371"/>
                </a:cxn>
                <a:cxn ang="0">
                  <a:pos x="236" y="389"/>
                </a:cxn>
                <a:cxn ang="0">
                  <a:pos x="232" y="406"/>
                </a:cxn>
                <a:cxn ang="0">
                  <a:pos x="230" y="422"/>
                </a:cxn>
                <a:cxn ang="0">
                  <a:pos x="228" y="435"/>
                </a:cxn>
                <a:cxn ang="0">
                  <a:pos x="228" y="446"/>
                </a:cxn>
                <a:cxn ang="0">
                  <a:pos x="228" y="933"/>
                </a:cxn>
                <a:cxn ang="0">
                  <a:pos x="0" y="933"/>
                </a:cxn>
                <a:cxn ang="0">
                  <a:pos x="0" y="22"/>
                </a:cxn>
              </a:cxnLst>
              <a:rect l="0" t="0" r="r" b="b"/>
              <a:pathLst>
                <a:path w="583" h="933">
                  <a:moveTo>
                    <a:pt x="0" y="22"/>
                  </a:moveTo>
                  <a:lnTo>
                    <a:pt x="228" y="22"/>
                  </a:lnTo>
                  <a:lnTo>
                    <a:pt x="228" y="167"/>
                  </a:lnTo>
                  <a:lnTo>
                    <a:pt x="232" y="167"/>
                  </a:lnTo>
                  <a:lnTo>
                    <a:pt x="232" y="167"/>
                  </a:lnTo>
                  <a:lnTo>
                    <a:pt x="241" y="148"/>
                  </a:lnTo>
                  <a:lnTo>
                    <a:pt x="252" y="129"/>
                  </a:lnTo>
                  <a:lnTo>
                    <a:pt x="265" y="112"/>
                  </a:lnTo>
                  <a:lnTo>
                    <a:pt x="278" y="97"/>
                  </a:lnTo>
                  <a:lnTo>
                    <a:pt x="292" y="81"/>
                  </a:lnTo>
                  <a:lnTo>
                    <a:pt x="307" y="68"/>
                  </a:lnTo>
                  <a:lnTo>
                    <a:pt x="324" y="55"/>
                  </a:lnTo>
                  <a:lnTo>
                    <a:pt x="340" y="44"/>
                  </a:lnTo>
                  <a:lnTo>
                    <a:pt x="358" y="34"/>
                  </a:lnTo>
                  <a:lnTo>
                    <a:pt x="377" y="25"/>
                  </a:lnTo>
                  <a:lnTo>
                    <a:pt x="396" y="17"/>
                  </a:lnTo>
                  <a:lnTo>
                    <a:pt x="415" y="11"/>
                  </a:lnTo>
                  <a:lnTo>
                    <a:pt x="436" y="6"/>
                  </a:lnTo>
                  <a:lnTo>
                    <a:pt x="457" y="3"/>
                  </a:lnTo>
                  <a:lnTo>
                    <a:pt x="480" y="0"/>
                  </a:lnTo>
                  <a:lnTo>
                    <a:pt x="501" y="0"/>
                  </a:lnTo>
                  <a:lnTo>
                    <a:pt x="501" y="0"/>
                  </a:lnTo>
                  <a:lnTo>
                    <a:pt x="522" y="1"/>
                  </a:lnTo>
                  <a:lnTo>
                    <a:pt x="543" y="3"/>
                  </a:lnTo>
                  <a:lnTo>
                    <a:pt x="563" y="8"/>
                  </a:lnTo>
                  <a:lnTo>
                    <a:pt x="583" y="13"/>
                  </a:lnTo>
                  <a:lnTo>
                    <a:pt x="583" y="233"/>
                  </a:lnTo>
                  <a:lnTo>
                    <a:pt x="583" y="233"/>
                  </a:lnTo>
                  <a:lnTo>
                    <a:pt x="555" y="226"/>
                  </a:lnTo>
                  <a:lnTo>
                    <a:pt x="528" y="221"/>
                  </a:lnTo>
                  <a:lnTo>
                    <a:pt x="500" y="218"/>
                  </a:lnTo>
                  <a:lnTo>
                    <a:pt x="486" y="217"/>
                  </a:lnTo>
                  <a:lnTo>
                    <a:pt x="473" y="216"/>
                  </a:lnTo>
                  <a:lnTo>
                    <a:pt x="473" y="216"/>
                  </a:lnTo>
                  <a:lnTo>
                    <a:pt x="453" y="217"/>
                  </a:lnTo>
                  <a:lnTo>
                    <a:pt x="435" y="218"/>
                  </a:lnTo>
                  <a:lnTo>
                    <a:pt x="418" y="221"/>
                  </a:lnTo>
                  <a:lnTo>
                    <a:pt x="400" y="224"/>
                  </a:lnTo>
                  <a:lnTo>
                    <a:pt x="385" y="228"/>
                  </a:lnTo>
                  <a:lnTo>
                    <a:pt x="371" y="233"/>
                  </a:lnTo>
                  <a:lnTo>
                    <a:pt x="356" y="238"/>
                  </a:lnTo>
                  <a:lnTo>
                    <a:pt x="344" y="245"/>
                  </a:lnTo>
                  <a:lnTo>
                    <a:pt x="332" y="252"/>
                  </a:lnTo>
                  <a:lnTo>
                    <a:pt x="321" y="260"/>
                  </a:lnTo>
                  <a:lnTo>
                    <a:pt x="311" y="268"/>
                  </a:lnTo>
                  <a:lnTo>
                    <a:pt x="301" y="276"/>
                  </a:lnTo>
                  <a:lnTo>
                    <a:pt x="292" y="284"/>
                  </a:lnTo>
                  <a:lnTo>
                    <a:pt x="284" y="293"/>
                  </a:lnTo>
                  <a:lnTo>
                    <a:pt x="277" y="302"/>
                  </a:lnTo>
                  <a:lnTo>
                    <a:pt x="270" y="313"/>
                  </a:lnTo>
                  <a:lnTo>
                    <a:pt x="259" y="332"/>
                  </a:lnTo>
                  <a:lnTo>
                    <a:pt x="248" y="351"/>
                  </a:lnTo>
                  <a:lnTo>
                    <a:pt x="241" y="371"/>
                  </a:lnTo>
                  <a:lnTo>
                    <a:pt x="236" y="389"/>
                  </a:lnTo>
                  <a:lnTo>
                    <a:pt x="232" y="406"/>
                  </a:lnTo>
                  <a:lnTo>
                    <a:pt x="230" y="422"/>
                  </a:lnTo>
                  <a:lnTo>
                    <a:pt x="228" y="435"/>
                  </a:lnTo>
                  <a:lnTo>
                    <a:pt x="228" y="446"/>
                  </a:lnTo>
                  <a:lnTo>
                    <a:pt x="228" y="933"/>
                  </a:lnTo>
                  <a:lnTo>
                    <a:pt x="0" y="933"/>
                  </a:lnTo>
                  <a:lnTo>
                    <a:pt x="0"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33"/>
            <p:cNvSpPr>
              <a:spLocks noEditPoints="1"/>
            </p:cNvSpPr>
            <p:nvPr/>
          </p:nvSpPr>
          <p:spPr bwMode="auto">
            <a:xfrm>
              <a:off x="6550025" y="5346700"/>
              <a:ext cx="781050" cy="1101725"/>
            </a:xfrm>
            <a:custGeom>
              <a:avLst/>
              <a:gdLst/>
              <a:ahLst/>
              <a:cxnLst>
                <a:cxn ang="0">
                  <a:pos x="735" y="120"/>
                </a:cxn>
                <a:cxn ang="0">
                  <a:pos x="629" y="38"/>
                </a:cxn>
                <a:cxn ang="0">
                  <a:pos x="497" y="2"/>
                </a:cxn>
                <a:cxn ang="0">
                  <a:pos x="374" y="5"/>
                </a:cxn>
                <a:cxn ang="0">
                  <a:pos x="240" y="46"/>
                </a:cxn>
                <a:cxn ang="0">
                  <a:pos x="134" y="122"/>
                </a:cxn>
                <a:cxn ang="0">
                  <a:pos x="58" y="227"/>
                </a:cxn>
                <a:cxn ang="0">
                  <a:pos x="12" y="356"/>
                </a:cxn>
                <a:cxn ang="0">
                  <a:pos x="0" y="478"/>
                </a:cxn>
                <a:cxn ang="0">
                  <a:pos x="18" y="616"/>
                </a:cxn>
                <a:cxn ang="0">
                  <a:pos x="71" y="738"/>
                </a:cxn>
                <a:cxn ang="0">
                  <a:pos x="156" y="838"/>
                </a:cxn>
                <a:cxn ang="0">
                  <a:pos x="268" y="907"/>
                </a:cxn>
                <a:cxn ang="0">
                  <a:pos x="403" y="942"/>
                </a:cxn>
                <a:cxn ang="0">
                  <a:pos x="517" y="940"/>
                </a:cxn>
                <a:cxn ang="0">
                  <a:pos x="640" y="902"/>
                </a:cxn>
                <a:cxn ang="0">
                  <a:pos x="738" y="828"/>
                </a:cxn>
                <a:cxn ang="0">
                  <a:pos x="752" y="943"/>
                </a:cxn>
                <a:cxn ang="0">
                  <a:pos x="722" y="1054"/>
                </a:cxn>
                <a:cxn ang="0">
                  <a:pos x="675" y="1117"/>
                </a:cxn>
                <a:cxn ang="0">
                  <a:pos x="605" y="1161"/>
                </a:cxn>
                <a:cxn ang="0">
                  <a:pos x="506" y="1182"/>
                </a:cxn>
                <a:cxn ang="0">
                  <a:pos x="398" y="1178"/>
                </a:cxn>
                <a:cxn ang="0">
                  <a:pos x="278" y="1141"/>
                </a:cxn>
                <a:cxn ang="0">
                  <a:pos x="171" y="1067"/>
                </a:cxn>
                <a:cxn ang="0">
                  <a:pos x="93" y="1294"/>
                </a:cxn>
                <a:cxn ang="0">
                  <a:pos x="257" y="1364"/>
                </a:cxn>
                <a:cxn ang="0">
                  <a:pos x="437" y="1388"/>
                </a:cxn>
                <a:cxn ang="0">
                  <a:pos x="593" y="1379"/>
                </a:cxn>
                <a:cxn ang="0">
                  <a:pos x="746" y="1330"/>
                </a:cxn>
                <a:cxn ang="0">
                  <a:pos x="859" y="1242"/>
                </a:cxn>
                <a:cxn ang="0">
                  <a:pos x="935" y="1121"/>
                </a:cxn>
                <a:cxn ang="0">
                  <a:pos x="976" y="968"/>
                </a:cxn>
                <a:cxn ang="0">
                  <a:pos x="767" y="22"/>
                </a:cxn>
                <a:cxn ang="0">
                  <a:pos x="440" y="734"/>
                </a:cxn>
                <a:cxn ang="0">
                  <a:pos x="366" y="708"/>
                </a:cxn>
                <a:cxn ang="0">
                  <a:pos x="303" y="662"/>
                </a:cxn>
                <a:cxn ang="0">
                  <a:pos x="259" y="601"/>
                </a:cxn>
                <a:cxn ang="0">
                  <a:pos x="233" y="529"/>
                </a:cxn>
                <a:cxn ang="0">
                  <a:pos x="228" y="461"/>
                </a:cxn>
                <a:cxn ang="0">
                  <a:pos x="243" y="378"/>
                </a:cxn>
                <a:cxn ang="0">
                  <a:pos x="278" y="309"/>
                </a:cxn>
                <a:cxn ang="0">
                  <a:pos x="332" y="256"/>
                </a:cxn>
                <a:cxn ang="0">
                  <a:pos x="400" y="220"/>
                </a:cxn>
                <a:cxn ang="0">
                  <a:pos x="483" y="205"/>
                </a:cxn>
                <a:cxn ang="0">
                  <a:pos x="556" y="210"/>
                </a:cxn>
                <a:cxn ang="0">
                  <a:pos x="633" y="235"/>
                </a:cxn>
                <a:cxn ang="0">
                  <a:pos x="694" y="279"/>
                </a:cxn>
                <a:cxn ang="0">
                  <a:pos x="737" y="340"/>
                </a:cxn>
                <a:cxn ang="0">
                  <a:pos x="762" y="415"/>
                </a:cxn>
                <a:cxn ang="0">
                  <a:pos x="765" y="500"/>
                </a:cxn>
                <a:cxn ang="0">
                  <a:pos x="744" y="590"/>
                </a:cxn>
                <a:cxn ang="0">
                  <a:pos x="703" y="654"/>
                </a:cxn>
                <a:cxn ang="0">
                  <a:pos x="645" y="702"/>
                </a:cxn>
                <a:cxn ang="0">
                  <a:pos x="569" y="731"/>
                </a:cxn>
                <a:cxn ang="0">
                  <a:pos x="495" y="739"/>
                </a:cxn>
              </a:cxnLst>
              <a:rect l="0" t="0" r="r" b="b"/>
              <a:pathLst>
                <a:path w="983" h="1388">
                  <a:moveTo>
                    <a:pt x="767" y="22"/>
                  </a:moveTo>
                  <a:lnTo>
                    <a:pt x="767" y="159"/>
                  </a:lnTo>
                  <a:lnTo>
                    <a:pt x="763" y="159"/>
                  </a:lnTo>
                  <a:lnTo>
                    <a:pt x="763" y="159"/>
                  </a:lnTo>
                  <a:lnTo>
                    <a:pt x="750" y="139"/>
                  </a:lnTo>
                  <a:lnTo>
                    <a:pt x="735" y="120"/>
                  </a:lnTo>
                  <a:lnTo>
                    <a:pt x="720" y="104"/>
                  </a:lnTo>
                  <a:lnTo>
                    <a:pt x="704" y="88"/>
                  </a:lnTo>
                  <a:lnTo>
                    <a:pt x="687" y="73"/>
                  </a:lnTo>
                  <a:lnTo>
                    <a:pt x="668" y="60"/>
                  </a:lnTo>
                  <a:lnTo>
                    <a:pt x="649" y="49"/>
                  </a:lnTo>
                  <a:lnTo>
                    <a:pt x="629" y="38"/>
                  </a:lnTo>
                  <a:lnTo>
                    <a:pt x="609" y="28"/>
                  </a:lnTo>
                  <a:lnTo>
                    <a:pt x="588" y="21"/>
                  </a:lnTo>
                  <a:lnTo>
                    <a:pt x="565" y="14"/>
                  </a:lnTo>
                  <a:lnTo>
                    <a:pt x="543" y="9"/>
                  </a:lnTo>
                  <a:lnTo>
                    <a:pt x="520" y="5"/>
                  </a:lnTo>
                  <a:lnTo>
                    <a:pt x="497" y="2"/>
                  </a:lnTo>
                  <a:lnTo>
                    <a:pt x="474" y="0"/>
                  </a:lnTo>
                  <a:lnTo>
                    <a:pt x="450" y="0"/>
                  </a:lnTo>
                  <a:lnTo>
                    <a:pt x="450" y="0"/>
                  </a:lnTo>
                  <a:lnTo>
                    <a:pt x="424" y="0"/>
                  </a:lnTo>
                  <a:lnTo>
                    <a:pt x="398" y="2"/>
                  </a:lnTo>
                  <a:lnTo>
                    <a:pt x="374" y="5"/>
                  </a:lnTo>
                  <a:lnTo>
                    <a:pt x="350" y="9"/>
                  </a:lnTo>
                  <a:lnTo>
                    <a:pt x="327" y="14"/>
                  </a:lnTo>
                  <a:lnTo>
                    <a:pt x="304" y="20"/>
                  </a:lnTo>
                  <a:lnTo>
                    <a:pt x="282" y="28"/>
                  </a:lnTo>
                  <a:lnTo>
                    <a:pt x="261" y="37"/>
                  </a:lnTo>
                  <a:lnTo>
                    <a:pt x="240" y="46"/>
                  </a:lnTo>
                  <a:lnTo>
                    <a:pt x="221" y="56"/>
                  </a:lnTo>
                  <a:lnTo>
                    <a:pt x="203" y="68"/>
                  </a:lnTo>
                  <a:lnTo>
                    <a:pt x="184" y="80"/>
                  </a:lnTo>
                  <a:lnTo>
                    <a:pt x="167" y="93"/>
                  </a:lnTo>
                  <a:lnTo>
                    <a:pt x="151" y="107"/>
                  </a:lnTo>
                  <a:lnTo>
                    <a:pt x="134" y="122"/>
                  </a:lnTo>
                  <a:lnTo>
                    <a:pt x="120" y="137"/>
                  </a:lnTo>
                  <a:lnTo>
                    <a:pt x="106" y="154"/>
                  </a:lnTo>
                  <a:lnTo>
                    <a:pt x="93" y="171"/>
                  </a:lnTo>
                  <a:lnTo>
                    <a:pt x="80" y="189"/>
                  </a:lnTo>
                  <a:lnTo>
                    <a:pt x="68" y="208"/>
                  </a:lnTo>
                  <a:lnTo>
                    <a:pt x="58" y="227"/>
                  </a:lnTo>
                  <a:lnTo>
                    <a:pt x="48" y="247"/>
                  </a:lnTo>
                  <a:lnTo>
                    <a:pt x="39" y="268"/>
                  </a:lnTo>
                  <a:lnTo>
                    <a:pt x="30" y="289"/>
                  </a:lnTo>
                  <a:lnTo>
                    <a:pt x="23" y="312"/>
                  </a:lnTo>
                  <a:lnTo>
                    <a:pt x="17" y="334"/>
                  </a:lnTo>
                  <a:lnTo>
                    <a:pt x="12" y="356"/>
                  </a:lnTo>
                  <a:lnTo>
                    <a:pt x="8" y="380"/>
                  </a:lnTo>
                  <a:lnTo>
                    <a:pt x="5" y="403"/>
                  </a:lnTo>
                  <a:lnTo>
                    <a:pt x="2" y="428"/>
                  </a:lnTo>
                  <a:lnTo>
                    <a:pt x="1" y="452"/>
                  </a:lnTo>
                  <a:lnTo>
                    <a:pt x="0" y="478"/>
                  </a:lnTo>
                  <a:lnTo>
                    <a:pt x="0" y="478"/>
                  </a:lnTo>
                  <a:lnTo>
                    <a:pt x="1" y="502"/>
                  </a:lnTo>
                  <a:lnTo>
                    <a:pt x="2" y="525"/>
                  </a:lnTo>
                  <a:lnTo>
                    <a:pt x="5" y="549"/>
                  </a:lnTo>
                  <a:lnTo>
                    <a:pt x="8" y="571"/>
                  </a:lnTo>
                  <a:lnTo>
                    <a:pt x="13" y="595"/>
                  </a:lnTo>
                  <a:lnTo>
                    <a:pt x="18" y="616"/>
                  </a:lnTo>
                  <a:lnTo>
                    <a:pt x="25" y="638"/>
                  </a:lnTo>
                  <a:lnTo>
                    <a:pt x="32" y="659"/>
                  </a:lnTo>
                  <a:lnTo>
                    <a:pt x="41" y="680"/>
                  </a:lnTo>
                  <a:lnTo>
                    <a:pt x="50" y="701"/>
                  </a:lnTo>
                  <a:lnTo>
                    <a:pt x="60" y="720"/>
                  </a:lnTo>
                  <a:lnTo>
                    <a:pt x="71" y="738"/>
                  </a:lnTo>
                  <a:lnTo>
                    <a:pt x="83" y="757"/>
                  </a:lnTo>
                  <a:lnTo>
                    <a:pt x="97" y="775"/>
                  </a:lnTo>
                  <a:lnTo>
                    <a:pt x="110" y="791"/>
                  </a:lnTo>
                  <a:lnTo>
                    <a:pt x="124" y="808"/>
                  </a:lnTo>
                  <a:lnTo>
                    <a:pt x="139" y="823"/>
                  </a:lnTo>
                  <a:lnTo>
                    <a:pt x="156" y="838"/>
                  </a:lnTo>
                  <a:lnTo>
                    <a:pt x="172" y="851"/>
                  </a:lnTo>
                  <a:lnTo>
                    <a:pt x="190" y="865"/>
                  </a:lnTo>
                  <a:lnTo>
                    <a:pt x="209" y="877"/>
                  </a:lnTo>
                  <a:lnTo>
                    <a:pt x="227" y="888"/>
                  </a:lnTo>
                  <a:lnTo>
                    <a:pt x="247" y="898"/>
                  </a:lnTo>
                  <a:lnTo>
                    <a:pt x="268" y="907"/>
                  </a:lnTo>
                  <a:lnTo>
                    <a:pt x="288" y="916"/>
                  </a:lnTo>
                  <a:lnTo>
                    <a:pt x="311" y="924"/>
                  </a:lnTo>
                  <a:lnTo>
                    <a:pt x="333" y="930"/>
                  </a:lnTo>
                  <a:lnTo>
                    <a:pt x="355" y="935"/>
                  </a:lnTo>
                  <a:lnTo>
                    <a:pt x="379" y="939"/>
                  </a:lnTo>
                  <a:lnTo>
                    <a:pt x="403" y="942"/>
                  </a:lnTo>
                  <a:lnTo>
                    <a:pt x="429" y="944"/>
                  </a:lnTo>
                  <a:lnTo>
                    <a:pt x="453" y="944"/>
                  </a:lnTo>
                  <a:lnTo>
                    <a:pt x="453" y="944"/>
                  </a:lnTo>
                  <a:lnTo>
                    <a:pt x="475" y="944"/>
                  </a:lnTo>
                  <a:lnTo>
                    <a:pt x="496" y="942"/>
                  </a:lnTo>
                  <a:lnTo>
                    <a:pt x="517" y="940"/>
                  </a:lnTo>
                  <a:lnTo>
                    <a:pt x="539" y="936"/>
                  </a:lnTo>
                  <a:lnTo>
                    <a:pt x="560" y="932"/>
                  </a:lnTo>
                  <a:lnTo>
                    <a:pt x="581" y="926"/>
                  </a:lnTo>
                  <a:lnTo>
                    <a:pt x="601" y="920"/>
                  </a:lnTo>
                  <a:lnTo>
                    <a:pt x="620" y="911"/>
                  </a:lnTo>
                  <a:lnTo>
                    <a:pt x="640" y="902"/>
                  </a:lnTo>
                  <a:lnTo>
                    <a:pt x="658" y="893"/>
                  </a:lnTo>
                  <a:lnTo>
                    <a:pt x="676" y="882"/>
                  </a:lnTo>
                  <a:lnTo>
                    <a:pt x="693" y="870"/>
                  </a:lnTo>
                  <a:lnTo>
                    <a:pt x="709" y="857"/>
                  </a:lnTo>
                  <a:lnTo>
                    <a:pt x="724" y="843"/>
                  </a:lnTo>
                  <a:lnTo>
                    <a:pt x="738" y="828"/>
                  </a:lnTo>
                  <a:lnTo>
                    <a:pt x="752" y="812"/>
                  </a:lnTo>
                  <a:lnTo>
                    <a:pt x="756" y="812"/>
                  </a:lnTo>
                  <a:lnTo>
                    <a:pt x="756" y="878"/>
                  </a:lnTo>
                  <a:lnTo>
                    <a:pt x="756" y="878"/>
                  </a:lnTo>
                  <a:lnTo>
                    <a:pt x="755" y="911"/>
                  </a:lnTo>
                  <a:lnTo>
                    <a:pt x="752" y="943"/>
                  </a:lnTo>
                  <a:lnTo>
                    <a:pt x="748" y="974"/>
                  </a:lnTo>
                  <a:lnTo>
                    <a:pt x="742" y="1002"/>
                  </a:lnTo>
                  <a:lnTo>
                    <a:pt x="737" y="1015"/>
                  </a:lnTo>
                  <a:lnTo>
                    <a:pt x="732" y="1029"/>
                  </a:lnTo>
                  <a:lnTo>
                    <a:pt x="727" y="1042"/>
                  </a:lnTo>
                  <a:lnTo>
                    <a:pt x="722" y="1054"/>
                  </a:lnTo>
                  <a:lnTo>
                    <a:pt x="716" y="1066"/>
                  </a:lnTo>
                  <a:lnTo>
                    <a:pt x="709" y="1077"/>
                  </a:lnTo>
                  <a:lnTo>
                    <a:pt x="702" y="1088"/>
                  </a:lnTo>
                  <a:lnTo>
                    <a:pt x="694" y="1099"/>
                  </a:lnTo>
                  <a:lnTo>
                    <a:pt x="685" y="1108"/>
                  </a:lnTo>
                  <a:lnTo>
                    <a:pt x="675" y="1117"/>
                  </a:lnTo>
                  <a:lnTo>
                    <a:pt x="666" y="1126"/>
                  </a:lnTo>
                  <a:lnTo>
                    <a:pt x="655" y="1134"/>
                  </a:lnTo>
                  <a:lnTo>
                    <a:pt x="644" y="1142"/>
                  </a:lnTo>
                  <a:lnTo>
                    <a:pt x="631" y="1149"/>
                  </a:lnTo>
                  <a:lnTo>
                    <a:pt x="618" y="1155"/>
                  </a:lnTo>
                  <a:lnTo>
                    <a:pt x="605" y="1161"/>
                  </a:lnTo>
                  <a:lnTo>
                    <a:pt x="591" y="1166"/>
                  </a:lnTo>
                  <a:lnTo>
                    <a:pt x="575" y="1170"/>
                  </a:lnTo>
                  <a:lnTo>
                    <a:pt x="559" y="1174"/>
                  </a:lnTo>
                  <a:lnTo>
                    <a:pt x="543" y="1177"/>
                  </a:lnTo>
                  <a:lnTo>
                    <a:pt x="525" y="1180"/>
                  </a:lnTo>
                  <a:lnTo>
                    <a:pt x="506" y="1182"/>
                  </a:lnTo>
                  <a:lnTo>
                    <a:pt x="487" y="1183"/>
                  </a:lnTo>
                  <a:lnTo>
                    <a:pt x="467" y="1183"/>
                  </a:lnTo>
                  <a:lnTo>
                    <a:pt x="467" y="1183"/>
                  </a:lnTo>
                  <a:lnTo>
                    <a:pt x="443" y="1182"/>
                  </a:lnTo>
                  <a:lnTo>
                    <a:pt x="421" y="1181"/>
                  </a:lnTo>
                  <a:lnTo>
                    <a:pt x="398" y="1178"/>
                  </a:lnTo>
                  <a:lnTo>
                    <a:pt x="377" y="1174"/>
                  </a:lnTo>
                  <a:lnTo>
                    <a:pt x="356" y="1170"/>
                  </a:lnTo>
                  <a:lnTo>
                    <a:pt x="336" y="1164"/>
                  </a:lnTo>
                  <a:lnTo>
                    <a:pt x="316" y="1157"/>
                  </a:lnTo>
                  <a:lnTo>
                    <a:pt x="296" y="1149"/>
                  </a:lnTo>
                  <a:lnTo>
                    <a:pt x="278" y="1141"/>
                  </a:lnTo>
                  <a:lnTo>
                    <a:pt x="260" y="1130"/>
                  </a:lnTo>
                  <a:lnTo>
                    <a:pt x="241" y="1120"/>
                  </a:lnTo>
                  <a:lnTo>
                    <a:pt x="223" y="1108"/>
                  </a:lnTo>
                  <a:lnTo>
                    <a:pt x="206" y="1096"/>
                  </a:lnTo>
                  <a:lnTo>
                    <a:pt x="188" y="1082"/>
                  </a:lnTo>
                  <a:lnTo>
                    <a:pt x="171" y="1067"/>
                  </a:lnTo>
                  <a:lnTo>
                    <a:pt x="154" y="1052"/>
                  </a:lnTo>
                  <a:lnTo>
                    <a:pt x="17" y="1238"/>
                  </a:lnTo>
                  <a:lnTo>
                    <a:pt x="17" y="1238"/>
                  </a:lnTo>
                  <a:lnTo>
                    <a:pt x="42" y="1259"/>
                  </a:lnTo>
                  <a:lnTo>
                    <a:pt x="67" y="1277"/>
                  </a:lnTo>
                  <a:lnTo>
                    <a:pt x="93" y="1294"/>
                  </a:lnTo>
                  <a:lnTo>
                    <a:pt x="118" y="1310"/>
                  </a:lnTo>
                  <a:lnTo>
                    <a:pt x="144" y="1324"/>
                  </a:lnTo>
                  <a:lnTo>
                    <a:pt x="172" y="1336"/>
                  </a:lnTo>
                  <a:lnTo>
                    <a:pt x="200" y="1346"/>
                  </a:lnTo>
                  <a:lnTo>
                    <a:pt x="228" y="1356"/>
                  </a:lnTo>
                  <a:lnTo>
                    <a:pt x="257" y="1364"/>
                  </a:lnTo>
                  <a:lnTo>
                    <a:pt x="286" y="1371"/>
                  </a:lnTo>
                  <a:lnTo>
                    <a:pt x="316" y="1377"/>
                  </a:lnTo>
                  <a:lnTo>
                    <a:pt x="345" y="1381"/>
                  </a:lnTo>
                  <a:lnTo>
                    <a:pt x="376" y="1384"/>
                  </a:lnTo>
                  <a:lnTo>
                    <a:pt x="406" y="1387"/>
                  </a:lnTo>
                  <a:lnTo>
                    <a:pt x="437" y="1388"/>
                  </a:lnTo>
                  <a:lnTo>
                    <a:pt x="468" y="1388"/>
                  </a:lnTo>
                  <a:lnTo>
                    <a:pt x="468" y="1388"/>
                  </a:lnTo>
                  <a:lnTo>
                    <a:pt x="501" y="1388"/>
                  </a:lnTo>
                  <a:lnTo>
                    <a:pt x="533" y="1386"/>
                  </a:lnTo>
                  <a:lnTo>
                    <a:pt x="563" y="1383"/>
                  </a:lnTo>
                  <a:lnTo>
                    <a:pt x="593" y="1379"/>
                  </a:lnTo>
                  <a:lnTo>
                    <a:pt x="621" y="1374"/>
                  </a:lnTo>
                  <a:lnTo>
                    <a:pt x="648" y="1367"/>
                  </a:lnTo>
                  <a:lnTo>
                    <a:pt x="674" y="1359"/>
                  </a:lnTo>
                  <a:lnTo>
                    <a:pt x="699" y="1350"/>
                  </a:lnTo>
                  <a:lnTo>
                    <a:pt x="722" y="1341"/>
                  </a:lnTo>
                  <a:lnTo>
                    <a:pt x="746" y="1330"/>
                  </a:lnTo>
                  <a:lnTo>
                    <a:pt x="767" y="1318"/>
                  </a:lnTo>
                  <a:lnTo>
                    <a:pt x="787" y="1304"/>
                  </a:lnTo>
                  <a:lnTo>
                    <a:pt x="807" y="1291"/>
                  </a:lnTo>
                  <a:lnTo>
                    <a:pt x="825" y="1276"/>
                  </a:lnTo>
                  <a:lnTo>
                    <a:pt x="842" y="1260"/>
                  </a:lnTo>
                  <a:lnTo>
                    <a:pt x="859" y="1242"/>
                  </a:lnTo>
                  <a:lnTo>
                    <a:pt x="874" y="1225"/>
                  </a:lnTo>
                  <a:lnTo>
                    <a:pt x="888" y="1206"/>
                  </a:lnTo>
                  <a:lnTo>
                    <a:pt x="901" y="1186"/>
                  </a:lnTo>
                  <a:lnTo>
                    <a:pt x="914" y="1165"/>
                  </a:lnTo>
                  <a:lnTo>
                    <a:pt x="925" y="1144"/>
                  </a:lnTo>
                  <a:lnTo>
                    <a:pt x="935" y="1121"/>
                  </a:lnTo>
                  <a:lnTo>
                    <a:pt x="944" y="1098"/>
                  </a:lnTo>
                  <a:lnTo>
                    <a:pt x="952" y="1073"/>
                  </a:lnTo>
                  <a:lnTo>
                    <a:pt x="960" y="1049"/>
                  </a:lnTo>
                  <a:lnTo>
                    <a:pt x="966" y="1022"/>
                  </a:lnTo>
                  <a:lnTo>
                    <a:pt x="971" y="996"/>
                  </a:lnTo>
                  <a:lnTo>
                    <a:pt x="976" y="968"/>
                  </a:lnTo>
                  <a:lnTo>
                    <a:pt x="979" y="941"/>
                  </a:lnTo>
                  <a:lnTo>
                    <a:pt x="981" y="911"/>
                  </a:lnTo>
                  <a:lnTo>
                    <a:pt x="983" y="882"/>
                  </a:lnTo>
                  <a:lnTo>
                    <a:pt x="983" y="851"/>
                  </a:lnTo>
                  <a:lnTo>
                    <a:pt x="983" y="22"/>
                  </a:lnTo>
                  <a:lnTo>
                    <a:pt x="767" y="22"/>
                  </a:lnTo>
                  <a:close/>
                  <a:moveTo>
                    <a:pt x="495" y="739"/>
                  </a:moveTo>
                  <a:lnTo>
                    <a:pt x="495" y="739"/>
                  </a:lnTo>
                  <a:lnTo>
                    <a:pt x="481" y="739"/>
                  </a:lnTo>
                  <a:lnTo>
                    <a:pt x="467" y="738"/>
                  </a:lnTo>
                  <a:lnTo>
                    <a:pt x="453" y="736"/>
                  </a:lnTo>
                  <a:lnTo>
                    <a:pt x="440" y="734"/>
                  </a:lnTo>
                  <a:lnTo>
                    <a:pt x="427" y="731"/>
                  </a:lnTo>
                  <a:lnTo>
                    <a:pt x="413" y="727"/>
                  </a:lnTo>
                  <a:lnTo>
                    <a:pt x="401" y="723"/>
                  </a:lnTo>
                  <a:lnTo>
                    <a:pt x="389" y="719"/>
                  </a:lnTo>
                  <a:lnTo>
                    <a:pt x="377" y="713"/>
                  </a:lnTo>
                  <a:lnTo>
                    <a:pt x="366" y="708"/>
                  </a:lnTo>
                  <a:lnTo>
                    <a:pt x="354" y="701"/>
                  </a:lnTo>
                  <a:lnTo>
                    <a:pt x="343" y="694"/>
                  </a:lnTo>
                  <a:lnTo>
                    <a:pt x="333" y="686"/>
                  </a:lnTo>
                  <a:lnTo>
                    <a:pt x="323" y="679"/>
                  </a:lnTo>
                  <a:lnTo>
                    <a:pt x="313" y="670"/>
                  </a:lnTo>
                  <a:lnTo>
                    <a:pt x="303" y="662"/>
                  </a:lnTo>
                  <a:lnTo>
                    <a:pt x="295" y="653"/>
                  </a:lnTo>
                  <a:lnTo>
                    <a:pt x="287" y="643"/>
                  </a:lnTo>
                  <a:lnTo>
                    <a:pt x="279" y="633"/>
                  </a:lnTo>
                  <a:lnTo>
                    <a:pt x="272" y="622"/>
                  </a:lnTo>
                  <a:lnTo>
                    <a:pt x="265" y="612"/>
                  </a:lnTo>
                  <a:lnTo>
                    <a:pt x="259" y="601"/>
                  </a:lnTo>
                  <a:lnTo>
                    <a:pt x="254" y="590"/>
                  </a:lnTo>
                  <a:lnTo>
                    <a:pt x="248" y="577"/>
                  </a:lnTo>
                  <a:lnTo>
                    <a:pt x="243" y="566"/>
                  </a:lnTo>
                  <a:lnTo>
                    <a:pt x="239" y="554"/>
                  </a:lnTo>
                  <a:lnTo>
                    <a:pt x="236" y="542"/>
                  </a:lnTo>
                  <a:lnTo>
                    <a:pt x="233" y="529"/>
                  </a:lnTo>
                  <a:lnTo>
                    <a:pt x="231" y="515"/>
                  </a:lnTo>
                  <a:lnTo>
                    <a:pt x="229" y="503"/>
                  </a:lnTo>
                  <a:lnTo>
                    <a:pt x="228" y="490"/>
                  </a:lnTo>
                  <a:lnTo>
                    <a:pt x="228" y="476"/>
                  </a:lnTo>
                  <a:lnTo>
                    <a:pt x="228" y="476"/>
                  </a:lnTo>
                  <a:lnTo>
                    <a:pt x="228" y="461"/>
                  </a:lnTo>
                  <a:lnTo>
                    <a:pt x="229" y="446"/>
                  </a:lnTo>
                  <a:lnTo>
                    <a:pt x="231" y="432"/>
                  </a:lnTo>
                  <a:lnTo>
                    <a:pt x="233" y="417"/>
                  </a:lnTo>
                  <a:lnTo>
                    <a:pt x="235" y="404"/>
                  </a:lnTo>
                  <a:lnTo>
                    <a:pt x="239" y="391"/>
                  </a:lnTo>
                  <a:lnTo>
                    <a:pt x="243" y="378"/>
                  </a:lnTo>
                  <a:lnTo>
                    <a:pt x="247" y="366"/>
                  </a:lnTo>
                  <a:lnTo>
                    <a:pt x="252" y="353"/>
                  </a:lnTo>
                  <a:lnTo>
                    <a:pt x="259" y="341"/>
                  </a:lnTo>
                  <a:lnTo>
                    <a:pt x="265" y="330"/>
                  </a:lnTo>
                  <a:lnTo>
                    <a:pt x="271" y="319"/>
                  </a:lnTo>
                  <a:lnTo>
                    <a:pt x="278" y="309"/>
                  </a:lnTo>
                  <a:lnTo>
                    <a:pt x="286" y="298"/>
                  </a:lnTo>
                  <a:lnTo>
                    <a:pt x="294" y="289"/>
                  </a:lnTo>
                  <a:lnTo>
                    <a:pt x="302" y="280"/>
                  </a:lnTo>
                  <a:lnTo>
                    <a:pt x="312" y="271"/>
                  </a:lnTo>
                  <a:lnTo>
                    <a:pt x="322" y="263"/>
                  </a:lnTo>
                  <a:lnTo>
                    <a:pt x="332" y="256"/>
                  </a:lnTo>
                  <a:lnTo>
                    <a:pt x="342" y="247"/>
                  </a:lnTo>
                  <a:lnTo>
                    <a:pt x="353" y="241"/>
                  </a:lnTo>
                  <a:lnTo>
                    <a:pt x="365" y="235"/>
                  </a:lnTo>
                  <a:lnTo>
                    <a:pt x="376" y="229"/>
                  </a:lnTo>
                  <a:lnTo>
                    <a:pt x="388" y="224"/>
                  </a:lnTo>
                  <a:lnTo>
                    <a:pt x="400" y="220"/>
                  </a:lnTo>
                  <a:lnTo>
                    <a:pt x="413" y="216"/>
                  </a:lnTo>
                  <a:lnTo>
                    <a:pt x="427" y="213"/>
                  </a:lnTo>
                  <a:lnTo>
                    <a:pt x="440" y="210"/>
                  </a:lnTo>
                  <a:lnTo>
                    <a:pt x="454" y="208"/>
                  </a:lnTo>
                  <a:lnTo>
                    <a:pt x="468" y="206"/>
                  </a:lnTo>
                  <a:lnTo>
                    <a:pt x="483" y="205"/>
                  </a:lnTo>
                  <a:lnTo>
                    <a:pt x="497" y="205"/>
                  </a:lnTo>
                  <a:lnTo>
                    <a:pt x="497" y="205"/>
                  </a:lnTo>
                  <a:lnTo>
                    <a:pt x="512" y="205"/>
                  </a:lnTo>
                  <a:lnTo>
                    <a:pt x="528" y="206"/>
                  </a:lnTo>
                  <a:lnTo>
                    <a:pt x="542" y="208"/>
                  </a:lnTo>
                  <a:lnTo>
                    <a:pt x="556" y="210"/>
                  </a:lnTo>
                  <a:lnTo>
                    <a:pt x="570" y="213"/>
                  </a:lnTo>
                  <a:lnTo>
                    <a:pt x="584" y="216"/>
                  </a:lnTo>
                  <a:lnTo>
                    <a:pt x="597" y="220"/>
                  </a:lnTo>
                  <a:lnTo>
                    <a:pt x="609" y="224"/>
                  </a:lnTo>
                  <a:lnTo>
                    <a:pt x="621" y="229"/>
                  </a:lnTo>
                  <a:lnTo>
                    <a:pt x="633" y="235"/>
                  </a:lnTo>
                  <a:lnTo>
                    <a:pt x="644" y="241"/>
                  </a:lnTo>
                  <a:lnTo>
                    <a:pt x="655" y="247"/>
                  </a:lnTo>
                  <a:lnTo>
                    <a:pt x="665" y="255"/>
                  </a:lnTo>
                  <a:lnTo>
                    <a:pt x="675" y="263"/>
                  </a:lnTo>
                  <a:lnTo>
                    <a:pt x="684" y="271"/>
                  </a:lnTo>
                  <a:lnTo>
                    <a:pt x="694" y="279"/>
                  </a:lnTo>
                  <a:lnTo>
                    <a:pt x="703" y="288"/>
                  </a:lnTo>
                  <a:lnTo>
                    <a:pt x="710" y="298"/>
                  </a:lnTo>
                  <a:lnTo>
                    <a:pt x="718" y="308"/>
                  </a:lnTo>
                  <a:lnTo>
                    <a:pt x="725" y="318"/>
                  </a:lnTo>
                  <a:lnTo>
                    <a:pt x="731" y="329"/>
                  </a:lnTo>
                  <a:lnTo>
                    <a:pt x="737" y="340"/>
                  </a:lnTo>
                  <a:lnTo>
                    <a:pt x="743" y="351"/>
                  </a:lnTo>
                  <a:lnTo>
                    <a:pt x="748" y="364"/>
                  </a:lnTo>
                  <a:lnTo>
                    <a:pt x="752" y="376"/>
                  </a:lnTo>
                  <a:lnTo>
                    <a:pt x="756" y="389"/>
                  </a:lnTo>
                  <a:lnTo>
                    <a:pt x="759" y="402"/>
                  </a:lnTo>
                  <a:lnTo>
                    <a:pt x="762" y="415"/>
                  </a:lnTo>
                  <a:lnTo>
                    <a:pt x="764" y="429"/>
                  </a:lnTo>
                  <a:lnTo>
                    <a:pt x="765" y="443"/>
                  </a:lnTo>
                  <a:lnTo>
                    <a:pt x="766" y="457"/>
                  </a:lnTo>
                  <a:lnTo>
                    <a:pt x="767" y="471"/>
                  </a:lnTo>
                  <a:lnTo>
                    <a:pt x="767" y="471"/>
                  </a:lnTo>
                  <a:lnTo>
                    <a:pt x="765" y="500"/>
                  </a:lnTo>
                  <a:lnTo>
                    <a:pt x="762" y="527"/>
                  </a:lnTo>
                  <a:lnTo>
                    <a:pt x="759" y="540"/>
                  </a:lnTo>
                  <a:lnTo>
                    <a:pt x="756" y="553"/>
                  </a:lnTo>
                  <a:lnTo>
                    <a:pt x="753" y="565"/>
                  </a:lnTo>
                  <a:lnTo>
                    <a:pt x="748" y="577"/>
                  </a:lnTo>
                  <a:lnTo>
                    <a:pt x="744" y="590"/>
                  </a:lnTo>
                  <a:lnTo>
                    <a:pt x="737" y="601"/>
                  </a:lnTo>
                  <a:lnTo>
                    <a:pt x="731" y="612"/>
                  </a:lnTo>
                  <a:lnTo>
                    <a:pt x="725" y="623"/>
                  </a:lnTo>
                  <a:lnTo>
                    <a:pt x="718" y="633"/>
                  </a:lnTo>
                  <a:lnTo>
                    <a:pt x="711" y="644"/>
                  </a:lnTo>
                  <a:lnTo>
                    <a:pt x="703" y="654"/>
                  </a:lnTo>
                  <a:lnTo>
                    <a:pt x="695" y="663"/>
                  </a:lnTo>
                  <a:lnTo>
                    <a:pt x="685" y="671"/>
                  </a:lnTo>
                  <a:lnTo>
                    <a:pt x="675" y="680"/>
                  </a:lnTo>
                  <a:lnTo>
                    <a:pt x="666" y="687"/>
                  </a:lnTo>
                  <a:lnTo>
                    <a:pt x="655" y="694"/>
                  </a:lnTo>
                  <a:lnTo>
                    <a:pt x="645" y="702"/>
                  </a:lnTo>
                  <a:lnTo>
                    <a:pt x="634" y="708"/>
                  </a:lnTo>
                  <a:lnTo>
                    <a:pt x="621" y="714"/>
                  </a:lnTo>
                  <a:lnTo>
                    <a:pt x="609" y="719"/>
                  </a:lnTo>
                  <a:lnTo>
                    <a:pt x="596" y="724"/>
                  </a:lnTo>
                  <a:lnTo>
                    <a:pt x="583" y="728"/>
                  </a:lnTo>
                  <a:lnTo>
                    <a:pt x="569" y="731"/>
                  </a:lnTo>
                  <a:lnTo>
                    <a:pt x="555" y="734"/>
                  </a:lnTo>
                  <a:lnTo>
                    <a:pt x="541" y="736"/>
                  </a:lnTo>
                  <a:lnTo>
                    <a:pt x="527" y="738"/>
                  </a:lnTo>
                  <a:lnTo>
                    <a:pt x="511" y="739"/>
                  </a:lnTo>
                  <a:lnTo>
                    <a:pt x="495" y="739"/>
                  </a:lnTo>
                  <a:lnTo>
                    <a:pt x="495" y="7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p:nvPr>
        </p:nvSpPr>
        <p:spPr>
          <a:xfrm>
            <a:off x="-203201" y="323851"/>
            <a:ext cx="9203267" cy="4544482"/>
          </a:xfrm>
        </p:spPr>
        <p:txBody>
          <a:bodyPr anchor="t" anchorCtr="0">
            <a:normAutofit/>
          </a:bodyPr>
          <a:lstStyle>
            <a:lvl1pPr>
              <a:lnSpc>
                <a:spcPts val="7900"/>
              </a:lnSpc>
              <a:defRPr sz="9600">
                <a:solidFill>
                  <a:schemeClr val="accent5"/>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48167" y="4715933"/>
            <a:ext cx="7986183" cy="1710268"/>
          </a:xfrm>
        </p:spPr>
        <p:txBody>
          <a:bodyPr anchor="b">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1800" b="0" i="0" u="none" strike="noStrike" kern="1200" cap="all" spc="0" normalizeH="0" baseline="0" noProof="0" dirty="0">
              <a:ln>
                <a:noFill/>
              </a:ln>
              <a:solidFill>
                <a:prstClr val="white"/>
              </a:solidFill>
              <a:effectLst/>
              <a:uLnTx/>
              <a:uFillTx/>
              <a:latin typeface="Arial"/>
              <a:ea typeface="+mn-ea"/>
              <a:cs typeface="Aria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pic>
        <p:nvPicPr>
          <p:cNvPr id="8" name="Picture 7" descr="BBG_Gradients-15.jpg"/>
          <p:cNvPicPr>
            <a:picLocks noChangeAspect="1"/>
          </p:cNvPicPr>
          <p:nvPr userDrawn="1"/>
        </p:nvPicPr>
        <p:blipFill>
          <a:blip r:embed="rId2" cstate="print"/>
          <a:stretch>
            <a:fillRect/>
          </a:stretch>
        </p:blipFill>
        <p:spPr bwMode="gray">
          <a:xfrm>
            <a:off x="0" y="0"/>
            <a:ext cx="9144000" cy="6865951"/>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B383C57C-80DA-45D5-BFE5-7583B8192761}" type="slidenum">
              <a:rPr lang="en-US" smtClean="0"/>
              <a:pPr/>
              <a:t>‹#›</a:t>
            </a:fld>
            <a:endParaRPr lang="en-US" dirty="0"/>
          </a:p>
        </p:txBody>
      </p:sp>
      <p:sp>
        <p:nvSpPr>
          <p:cNvPr id="2" name="Title 1"/>
          <p:cNvSpPr>
            <a:spLocks noGrp="1"/>
          </p:cNvSpPr>
          <p:nvPr>
            <p:ph type="title"/>
          </p:nvPr>
        </p:nvSpPr>
        <p:spPr>
          <a:xfrm>
            <a:off x="-230684" y="524455"/>
            <a:ext cx="9469967" cy="3560764"/>
          </a:xfrm>
        </p:spPr>
        <p:txBody>
          <a:bodyPr anchor="t" anchorCtr="0">
            <a:noAutofit/>
          </a:bodyPr>
          <a:lstStyle>
            <a:lvl1pPr algn="l">
              <a:lnSpc>
                <a:spcPct val="69000"/>
              </a:lnSpc>
              <a:defRPr sz="10000" b="1" cap="all" spc="-300">
                <a:solidFill>
                  <a:schemeClr val="bg1"/>
                </a:solidFill>
              </a:defRPr>
            </a:lvl1pPr>
          </a:lstStyle>
          <a:p>
            <a:r>
              <a:rPr lang="en-US" dirty="0" smtClean="0"/>
              <a:t>Click to edit Master title style</a:t>
            </a:r>
            <a:endParaRPr lang="en-US" dirty="0"/>
          </a:p>
        </p:txBody>
      </p:sp>
      <p:sp>
        <p:nvSpPr>
          <p:cNvPr id="4" name="Date Placeholder 3"/>
          <p:cNvSpPr>
            <a:spLocks noGrp="1"/>
          </p:cNvSpPr>
          <p:nvPr>
            <p:ph type="dt" sz="half" idx="10"/>
          </p:nvPr>
        </p:nvSpPr>
        <p:spPr>
          <a:xfrm>
            <a:off x="457200" y="6858000"/>
            <a:ext cx="2133600" cy="365125"/>
          </a:xfrm>
          <a:prstGeom prst="rect">
            <a:avLst/>
          </a:prstGeom>
        </p:spPr>
        <p:txBody>
          <a:bodyPr/>
          <a:lstStyle/>
          <a:p>
            <a:fld id="{47CA4806-5749-4579-93F3-C20A129D7CFD}" type="datetime1">
              <a:rPr lang="en-US" smtClean="0"/>
              <a:pPr/>
              <a:t>1/4/2016</a:t>
            </a:fld>
            <a:endParaRPr lang="en-US"/>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Section Header">
    <p:spTree>
      <p:nvGrpSpPr>
        <p:cNvPr id="1" name=""/>
        <p:cNvGrpSpPr/>
        <p:nvPr/>
      </p:nvGrpSpPr>
      <p:grpSpPr>
        <a:xfrm>
          <a:off x="0" y="0"/>
          <a:ext cx="0" cy="0"/>
          <a:chOff x="0" y="0"/>
          <a:chExt cx="0" cy="0"/>
        </a:xfrm>
      </p:grpSpPr>
      <p:pic>
        <p:nvPicPr>
          <p:cNvPr id="8" name="Picture 7" descr="BBG_Gradients-15.jpg"/>
          <p:cNvPicPr>
            <a:picLocks noChangeAspect="1"/>
          </p:cNvPicPr>
          <p:nvPr userDrawn="1"/>
        </p:nvPicPr>
        <p:blipFill>
          <a:blip r:embed="rId2" cstate="print"/>
          <a:stretch>
            <a:fillRect/>
          </a:stretch>
        </p:blipFill>
        <p:spPr bwMode="gray">
          <a:xfrm>
            <a:off x="0" y="0"/>
            <a:ext cx="9144000" cy="6865951"/>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B383C57C-80DA-45D5-BFE5-7583B8192761}" type="slidenum">
              <a:rPr lang="en-US" smtClean="0"/>
              <a:pPr/>
              <a:t>‹#›</a:t>
            </a:fld>
            <a:endParaRPr lang="en-US" dirty="0"/>
          </a:p>
        </p:txBody>
      </p:sp>
      <p:sp>
        <p:nvSpPr>
          <p:cNvPr id="2" name="Title 1"/>
          <p:cNvSpPr>
            <a:spLocks noGrp="1"/>
          </p:cNvSpPr>
          <p:nvPr>
            <p:ph type="title"/>
          </p:nvPr>
        </p:nvSpPr>
        <p:spPr>
          <a:xfrm>
            <a:off x="-230684" y="524455"/>
            <a:ext cx="9469967" cy="3560764"/>
          </a:xfrm>
        </p:spPr>
        <p:txBody>
          <a:bodyPr anchor="t" anchorCtr="0">
            <a:noAutofit/>
          </a:bodyPr>
          <a:lstStyle>
            <a:lvl1pPr algn="l">
              <a:lnSpc>
                <a:spcPct val="69000"/>
              </a:lnSpc>
              <a:defRPr sz="10000" b="1" cap="all" spc="-300">
                <a:solidFill>
                  <a:schemeClr val="bg1"/>
                </a:solidFill>
              </a:defRPr>
            </a:lvl1pPr>
          </a:lstStyle>
          <a:p>
            <a:r>
              <a:rPr lang="en-US" dirty="0" smtClean="0"/>
              <a:t>Click to edit Master title style</a:t>
            </a:r>
            <a:endParaRPr lang="en-US" dirty="0"/>
          </a:p>
        </p:txBody>
      </p:sp>
      <p:sp>
        <p:nvSpPr>
          <p:cNvPr id="4" name="Date Placeholder 3"/>
          <p:cNvSpPr>
            <a:spLocks noGrp="1"/>
          </p:cNvSpPr>
          <p:nvPr>
            <p:ph type="dt" sz="half" idx="10"/>
          </p:nvPr>
        </p:nvSpPr>
        <p:spPr>
          <a:xfrm>
            <a:off x="457200" y="6858000"/>
            <a:ext cx="2133600" cy="365125"/>
          </a:xfrm>
          <a:prstGeom prst="rect">
            <a:avLst/>
          </a:prstGeom>
        </p:spPr>
        <p:txBody>
          <a:bodyPr/>
          <a:lstStyle/>
          <a:p>
            <a:fld id="{47CA4806-5749-4579-93F3-C20A129D7CFD}" type="datetime1">
              <a:rPr lang="en-US" smtClean="0"/>
              <a:pPr/>
              <a:t>1/4/2016</a:t>
            </a:fld>
            <a:endParaRPr lang="en-US"/>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57200" y="1452564"/>
            <a:ext cx="3703320" cy="5170486"/>
          </a:xfrm>
        </p:spPr>
        <p:txBody>
          <a:bodyPr>
            <a:normAutofit/>
          </a:bodyPr>
          <a:lstStyle>
            <a:lvl1pPr marL="177800" indent="0">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433977" y="1452564"/>
            <a:ext cx="3700373" cy="5170486"/>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a:xfrm>
            <a:off x="457200" y="6858000"/>
            <a:ext cx="2133600" cy="365125"/>
          </a:xfrm>
          <a:prstGeom prst="rect">
            <a:avLst/>
          </a:prstGeom>
        </p:spPr>
        <p:txBody>
          <a:bodyPr/>
          <a:lstStyle/>
          <a:p>
            <a:fld id="{90DA32F9-906E-482A-8835-4EE1B648E1F5}" type="datetime1">
              <a:rPr lang="en-US" smtClean="0"/>
              <a:pPr/>
              <a:t>1/4/2016</a:t>
            </a:fld>
            <a:endParaRPr lang="en-US"/>
          </a:p>
        </p:txBody>
      </p:sp>
      <p:sp>
        <p:nvSpPr>
          <p:cNvPr id="7" name="Slide Number Placeholder 6"/>
          <p:cNvSpPr>
            <a:spLocks noGrp="1"/>
          </p:cNvSpPr>
          <p:nvPr>
            <p:ph type="sldNum" sz="quarter" idx="12"/>
          </p:nvPr>
        </p:nvSpPr>
        <p:spPr/>
        <p:txBody>
          <a:bodyPr/>
          <a:lstStyle/>
          <a:p>
            <a:fld id="{B383C57C-80DA-45D5-BFE5-7583B8192761}"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452564"/>
            <a:ext cx="3703320" cy="617776"/>
          </a:xfrm>
        </p:spPr>
        <p:txBody>
          <a:bodyPr anchor="b">
            <a:noAutofit/>
          </a:bodyPr>
          <a:lstStyle>
            <a:lvl1pPr marL="0" indent="0">
              <a:buNone/>
              <a:defRPr sz="22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44512" y="2120900"/>
            <a:ext cx="3355975" cy="4292599"/>
          </a:xfrm>
          <a:solidFill>
            <a:schemeClr val="accent5"/>
          </a:solidFill>
          <a:ln>
            <a:noFill/>
          </a:ln>
        </p:spPr>
        <p:txBody>
          <a:bodyPr>
            <a:normAutofit/>
          </a:bodyPr>
          <a:lstStyle>
            <a:lvl1pPr marL="114300" indent="0">
              <a:defRPr sz="1500"/>
            </a:lvl1pPr>
            <a:lvl2pPr marL="406400" indent="-292100">
              <a:buNone/>
              <a:defRPr sz="1300">
                <a:solidFill>
                  <a:schemeClr val="bg1"/>
                </a:solidFill>
              </a:defRPr>
            </a:lvl2pPr>
            <a:lvl3pPr marL="406400" indent="-292100">
              <a:buFont typeface="Arial"/>
              <a:buNone/>
              <a:defRPr sz="1200">
                <a:solidFill>
                  <a:schemeClr val="bg1"/>
                </a:solidFill>
              </a:defRPr>
            </a:lvl3pPr>
            <a:lvl4pPr marL="406400" indent="-292100">
              <a:buClr>
                <a:schemeClr val="bg1"/>
              </a:buClr>
              <a:buFont typeface="Lucida Grande"/>
              <a:buChar char="»"/>
              <a:defRPr sz="1200">
                <a:solidFill>
                  <a:srgbClr val="000000"/>
                </a:solidFill>
              </a:defRPr>
            </a:lvl4pPr>
            <a:lvl5pPr marL="406400" indent="-292100">
              <a:buClr>
                <a:schemeClr val="bg1"/>
              </a:buClr>
              <a:buFont typeface="Lucida Grande"/>
              <a:buChar char="»"/>
              <a:defRPr sz="1200">
                <a:solidFill>
                  <a:srgbClr val="000000"/>
                </a:solidFill>
              </a:defRPr>
            </a:lvl5pPr>
            <a:lvl6pPr>
              <a:defRPr sz="1600"/>
            </a:lvl6pPr>
            <a:lvl7pPr>
              <a:defRPr sz="1600"/>
            </a:lvl7pPr>
            <a:lvl8pPr>
              <a:defRPr sz="1600"/>
            </a:lvl8pPr>
            <a:lvl9pPr>
              <a:defRPr sz="1600"/>
            </a:lvl9pPr>
          </a:lstStyle>
          <a:p>
            <a:pPr lvl="0"/>
            <a:r>
              <a:rPr lang="en-US" dirty="0" smtClean="0"/>
              <a:t>Click to edit Master text styles</a:t>
            </a:r>
          </a:p>
          <a:p>
            <a:pPr lvl="3"/>
            <a:r>
              <a:rPr lang="en-US" dirty="0" smtClean="0"/>
              <a:t>Second level</a:t>
            </a:r>
          </a:p>
          <a:p>
            <a:pPr lvl="3"/>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572001" y="1452564"/>
            <a:ext cx="3536950" cy="617776"/>
          </a:xfrm>
        </p:spPr>
        <p:txBody>
          <a:bodyPr anchor="b">
            <a:noAutofit/>
          </a:bodyPr>
          <a:lstStyle>
            <a:lvl1pPr marL="0" indent="0">
              <a:buNone/>
              <a:defRPr sz="22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73600" y="2120900"/>
            <a:ext cx="3371850" cy="4292599"/>
          </a:xfrm>
          <a:solidFill>
            <a:srgbClr val="00BCE4"/>
          </a:solidFill>
          <a:ln>
            <a:noFill/>
          </a:ln>
        </p:spPr>
        <p:txBody>
          <a:bodyPr>
            <a:normAutofit/>
          </a:bodyPr>
          <a:lstStyle>
            <a:lvl1pPr marL="114300" indent="0">
              <a:defRPr sz="1500"/>
            </a:lvl1pPr>
            <a:lvl2pPr marL="342900" indent="-228600">
              <a:buClr>
                <a:schemeClr val="bg1"/>
              </a:buClr>
              <a:defRPr sz="1200">
                <a:solidFill>
                  <a:srgbClr val="000000"/>
                </a:solidFill>
              </a:defRPr>
            </a:lvl2pPr>
            <a:lvl3pPr marL="342900" indent="-228600">
              <a:buClr>
                <a:schemeClr val="bg1"/>
              </a:buClr>
              <a:buFont typeface="Lucida Grande"/>
              <a:buChar char="»"/>
              <a:defRPr sz="1200">
                <a:solidFill>
                  <a:srgbClr val="000000"/>
                </a:solidFill>
              </a:defRPr>
            </a:lvl3pPr>
            <a:lvl4pPr marL="342900" indent="-228600">
              <a:buClr>
                <a:schemeClr val="bg1"/>
              </a:buClr>
              <a:buFont typeface="Lucida Grande"/>
              <a:buChar char="»"/>
              <a:defRPr sz="1200">
                <a:solidFill>
                  <a:srgbClr val="000000"/>
                </a:solidFill>
              </a:defRPr>
            </a:lvl4pPr>
            <a:lvl5pPr marL="342900" indent="-228600">
              <a:buClr>
                <a:schemeClr val="bg1"/>
              </a:buClr>
              <a:buFont typeface="Lucida Grande"/>
              <a:buChar char="»"/>
              <a:defRPr sz="1200">
                <a:solidFill>
                  <a:srgbClr val="000000"/>
                </a:solidFill>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a:xfrm>
            <a:off x="457200" y="6858000"/>
            <a:ext cx="2133600" cy="365125"/>
          </a:xfrm>
          <a:prstGeom prst="rect">
            <a:avLst/>
          </a:prstGeom>
        </p:spPr>
        <p:txBody>
          <a:bodyPr/>
          <a:lstStyle/>
          <a:p>
            <a:fld id="{3EC00D29-6FB5-4FFF-80C7-E3689DC203F6}" type="datetime1">
              <a:rPr lang="en-US" smtClean="0"/>
              <a:pPr/>
              <a:t>1/4/2016</a:t>
            </a:fld>
            <a:endParaRPr lang="en-US"/>
          </a:p>
        </p:txBody>
      </p:sp>
      <p:sp>
        <p:nvSpPr>
          <p:cNvPr id="9" name="Slide Number Placeholder 8"/>
          <p:cNvSpPr>
            <a:spLocks noGrp="1"/>
          </p:cNvSpPr>
          <p:nvPr>
            <p:ph type="sldNum" sz="quarter" idx="12"/>
          </p:nvPr>
        </p:nvSpPr>
        <p:spPr/>
        <p:txBody>
          <a:bodyPr/>
          <a:lstStyle/>
          <a:p>
            <a:fld id="{B383C57C-80DA-45D5-BFE5-7583B8192761}" type="slidenum">
              <a:rPr lang="en-US" smtClean="0"/>
              <a:pPr/>
              <a:t>‹#›</a:t>
            </a:fld>
            <a:endParaRPr lang="en-US"/>
          </a:p>
        </p:txBody>
      </p:sp>
      <p:sp>
        <p:nvSpPr>
          <p:cNvPr id="10" name="Isosceles Triangle 9"/>
          <p:cNvSpPr/>
          <p:nvPr userDrawn="1"/>
        </p:nvSpPr>
        <p:spPr>
          <a:xfrm rot="5400000">
            <a:off x="2457452" y="3870856"/>
            <a:ext cx="3693582" cy="587376"/>
          </a:xfrm>
          <a:prstGeom prst="triangle">
            <a:avLst>
              <a:gd name="adj" fmla="val 5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userDrawn="1"/>
        </p:nvSpPr>
        <p:spPr>
          <a:xfrm>
            <a:off x="544513" y="6070600"/>
            <a:ext cx="3341687" cy="553998"/>
          </a:xfrm>
          <a:prstGeom prst="rect">
            <a:avLst/>
          </a:prstGeom>
          <a:noFill/>
        </p:spPr>
        <p:txBody>
          <a:bodyPr wrap="square" rtlCol="0">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bg1"/>
                </a:solidFill>
                <a:effectLst/>
                <a:uLnTx/>
                <a:uFillTx/>
                <a:latin typeface="+mn-lt"/>
                <a:ea typeface="+mn-ea"/>
                <a:cs typeface="Arial"/>
              </a:rPr>
              <a:t>/ / / / / / / / / / / / / / / / / / / / / / / / / / / / / / / / / </a:t>
            </a:r>
          </a:p>
          <a:p>
            <a:pPr algn="ctr"/>
            <a:endParaRPr lang="en-US" dirty="0"/>
          </a:p>
        </p:txBody>
      </p:sp>
      <p:sp>
        <p:nvSpPr>
          <p:cNvPr id="13" name="TextBox 12"/>
          <p:cNvSpPr txBox="1"/>
          <p:nvPr userDrawn="1"/>
        </p:nvSpPr>
        <p:spPr>
          <a:xfrm>
            <a:off x="4684713" y="6070600"/>
            <a:ext cx="3341687" cy="553998"/>
          </a:xfrm>
          <a:prstGeom prst="rect">
            <a:avLst/>
          </a:prstGeom>
          <a:noFill/>
        </p:spPr>
        <p:txBody>
          <a:bodyPr wrap="square" rtlCol="0">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bg1"/>
                </a:solidFill>
                <a:effectLst/>
                <a:uLnTx/>
                <a:uFillTx/>
                <a:latin typeface="+mn-lt"/>
                <a:ea typeface="+mn-ea"/>
                <a:cs typeface="Arial"/>
              </a:rPr>
              <a:t>/ / / / / / / / / / / / / / / / / / / / / / / / / / / / / / / / / </a:t>
            </a:r>
          </a:p>
          <a:p>
            <a:pPr algn="ctr"/>
            <a:endParaRPr lang="en-US" dirty="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452564"/>
            <a:ext cx="3703320" cy="617776"/>
          </a:xfrm>
        </p:spPr>
        <p:txBody>
          <a:bodyPr anchor="b">
            <a:noAutofit/>
          </a:bodyPr>
          <a:lstStyle>
            <a:lvl1pPr marL="0" indent="0">
              <a:buNone/>
              <a:defRPr sz="22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44512" y="2120900"/>
            <a:ext cx="3355975" cy="4292599"/>
          </a:xfrm>
          <a:solidFill>
            <a:schemeClr val="accent4"/>
          </a:solidFill>
          <a:ln>
            <a:noFill/>
          </a:ln>
        </p:spPr>
        <p:txBody>
          <a:bodyPr>
            <a:normAutofit/>
          </a:bodyPr>
          <a:lstStyle>
            <a:lvl1pPr marL="114300" indent="0">
              <a:defRPr sz="1500"/>
            </a:lvl1pPr>
            <a:lvl2pPr marL="406400" indent="-292100">
              <a:buNone/>
              <a:defRPr sz="1300">
                <a:solidFill>
                  <a:schemeClr val="bg1"/>
                </a:solidFill>
              </a:defRPr>
            </a:lvl2pPr>
            <a:lvl3pPr marL="406400" indent="-292100">
              <a:buFont typeface="Arial"/>
              <a:buNone/>
              <a:defRPr sz="1200">
                <a:solidFill>
                  <a:schemeClr val="bg1"/>
                </a:solidFill>
              </a:defRPr>
            </a:lvl3pPr>
            <a:lvl4pPr marL="406400" indent="-292100">
              <a:buClr>
                <a:schemeClr val="bg1"/>
              </a:buClr>
              <a:buFont typeface="Lucida Grande"/>
              <a:buChar char="»"/>
              <a:defRPr sz="1200">
                <a:solidFill>
                  <a:srgbClr val="000000"/>
                </a:solidFill>
              </a:defRPr>
            </a:lvl4pPr>
            <a:lvl5pPr marL="406400" indent="-292100">
              <a:buClr>
                <a:schemeClr val="bg1"/>
              </a:buClr>
              <a:buFont typeface="Lucida Grande"/>
              <a:buChar char="»"/>
              <a:defRPr sz="1200">
                <a:solidFill>
                  <a:srgbClr val="000000"/>
                </a:solidFill>
              </a:defRPr>
            </a:lvl5pPr>
            <a:lvl6pPr>
              <a:defRPr sz="1600"/>
            </a:lvl6pPr>
            <a:lvl7pPr>
              <a:defRPr sz="1600"/>
            </a:lvl7pPr>
            <a:lvl8pPr>
              <a:defRPr sz="1600"/>
            </a:lvl8pPr>
            <a:lvl9pPr>
              <a:defRPr sz="1600"/>
            </a:lvl9pPr>
          </a:lstStyle>
          <a:p>
            <a:pPr lvl="0"/>
            <a:r>
              <a:rPr lang="en-US" dirty="0" smtClean="0"/>
              <a:t>Click to edit Master text styles</a:t>
            </a:r>
          </a:p>
          <a:p>
            <a:pPr lvl="3"/>
            <a:r>
              <a:rPr lang="en-US" dirty="0" smtClean="0"/>
              <a:t>Second level</a:t>
            </a:r>
          </a:p>
          <a:p>
            <a:pPr lvl="3"/>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572001" y="1452564"/>
            <a:ext cx="3536950" cy="617776"/>
          </a:xfrm>
        </p:spPr>
        <p:txBody>
          <a:bodyPr anchor="b">
            <a:noAutofit/>
          </a:bodyPr>
          <a:lstStyle>
            <a:lvl1pPr marL="0" indent="0">
              <a:buNone/>
              <a:defRPr sz="22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73600" y="2120900"/>
            <a:ext cx="3371850" cy="4292599"/>
          </a:xfrm>
          <a:solidFill>
            <a:srgbClr val="A0CF67"/>
          </a:solidFill>
          <a:ln>
            <a:noFill/>
          </a:ln>
        </p:spPr>
        <p:txBody>
          <a:bodyPr>
            <a:normAutofit/>
          </a:bodyPr>
          <a:lstStyle>
            <a:lvl1pPr marL="114300" indent="0">
              <a:defRPr sz="1500"/>
            </a:lvl1pPr>
            <a:lvl2pPr marL="342900" indent="-228600">
              <a:buClr>
                <a:schemeClr val="bg1"/>
              </a:buClr>
              <a:defRPr sz="1200">
                <a:solidFill>
                  <a:srgbClr val="000000"/>
                </a:solidFill>
              </a:defRPr>
            </a:lvl2pPr>
            <a:lvl3pPr marL="342900" indent="-228600">
              <a:buClr>
                <a:schemeClr val="bg1"/>
              </a:buClr>
              <a:buFont typeface="Lucida Grande"/>
              <a:buChar char="»"/>
              <a:defRPr sz="1200">
                <a:solidFill>
                  <a:srgbClr val="000000"/>
                </a:solidFill>
              </a:defRPr>
            </a:lvl3pPr>
            <a:lvl4pPr marL="342900" indent="-228600">
              <a:buClr>
                <a:schemeClr val="bg1"/>
              </a:buClr>
              <a:buFont typeface="Lucida Grande"/>
              <a:buChar char="»"/>
              <a:defRPr sz="1200">
                <a:solidFill>
                  <a:srgbClr val="000000"/>
                </a:solidFill>
              </a:defRPr>
            </a:lvl4pPr>
            <a:lvl5pPr marL="342900" indent="-228600">
              <a:buClr>
                <a:schemeClr val="bg1"/>
              </a:buClr>
              <a:buFont typeface="Lucida Grande"/>
              <a:buChar char="»"/>
              <a:defRPr sz="1200">
                <a:solidFill>
                  <a:srgbClr val="000000"/>
                </a:solidFill>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a:xfrm>
            <a:off x="457200" y="6858000"/>
            <a:ext cx="2133600" cy="365125"/>
          </a:xfrm>
          <a:prstGeom prst="rect">
            <a:avLst/>
          </a:prstGeom>
        </p:spPr>
        <p:txBody>
          <a:bodyPr/>
          <a:lstStyle/>
          <a:p>
            <a:fld id="{3EC00D29-6FB5-4FFF-80C7-E3689DC203F6}" type="datetime1">
              <a:rPr lang="en-US" smtClean="0"/>
              <a:pPr/>
              <a:t>1/4/2016</a:t>
            </a:fld>
            <a:endParaRPr lang="en-US"/>
          </a:p>
        </p:txBody>
      </p:sp>
      <p:sp>
        <p:nvSpPr>
          <p:cNvPr id="9" name="Slide Number Placeholder 8"/>
          <p:cNvSpPr>
            <a:spLocks noGrp="1"/>
          </p:cNvSpPr>
          <p:nvPr>
            <p:ph type="sldNum" sz="quarter" idx="12"/>
          </p:nvPr>
        </p:nvSpPr>
        <p:spPr/>
        <p:txBody>
          <a:bodyPr/>
          <a:lstStyle/>
          <a:p>
            <a:fld id="{B383C57C-80DA-45D5-BFE5-7583B8192761}" type="slidenum">
              <a:rPr lang="en-US" smtClean="0"/>
              <a:pPr/>
              <a:t>‹#›</a:t>
            </a:fld>
            <a:endParaRPr lang="en-US"/>
          </a:p>
        </p:txBody>
      </p:sp>
      <p:sp>
        <p:nvSpPr>
          <p:cNvPr id="10" name="Isosceles Triangle 9"/>
          <p:cNvSpPr/>
          <p:nvPr userDrawn="1"/>
        </p:nvSpPr>
        <p:spPr>
          <a:xfrm rot="5400000">
            <a:off x="2457452" y="3870856"/>
            <a:ext cx="3693582" cy="587376"/>
          </a:xfrm>
          <a:prstGeom prst="triangle">
            <a:avLst>
              <a:gd name="adj" fmla="val 50000"/>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userDrawn="1"/>
        </p:nvSpPr>
        <p:spPr>
          <a:xfrm>
            <a:off x="544513" y="6070600"/>
            <a:ext cx="3341687" cy="553998"/>
          </a:xfrm>
          <a:prstGeom prst="rect">
            <a:avLst/>
          </a:prstGeom>
          <a:noFill/>
        </p:spPr>
        <p:txBody>
          <a:bodyPr wrap="square" rtlCol="0">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bg1"/>
                </a:solidFill>
                <a:effectLst/>
                <a:uLnTx/>
                <a:uFillTx/>
                <a:latin typeface="+mn-lt"/>
                <a:ea typeface="+mn-ea"/>
                <a:cs typeface="Arial"/>
              </a:rPr>
              <a:t>/ / / / / / / / / / / / / / / / / / / / / / / / / / / / / / / / / </a:t>
            </a:r>
          </a:p>
          <a:p>
            <a:pPr algn="ctr"/>
            <a:endParaRPr lang="en-US" dirty="0"/>
          </a:p>
        </p:txBody>
      </p:sp>
      <p:sp>
        <p:nvSpPr>
          <p:cNvPr id="13" name="TextBox 12"/>
          <p:cNvSpPr txBox="1"/>
          <p:nvPr userDrawn="1"/>
        </p:nvSpPr>
        <p:spPr>
          <a:xfrm>
            <a:off x="4684713" y="6070600"/>
            <a:ext cx="3341687" cy="553998"/>
          </a:xfrm>
          <a:prstGeom prst="rect">
            <a:avLst/>
          </a:prstGeom>
          <a:noFill/>
        </p:spPr>
        <p:txBody>
          <a:bodyPr wrap="square" rtlCol="0">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FFFFFF"/>
                </a:solidFill>
                <a:effectLst/>
                <a:uLnTx/>
                <a:uFillTx/>
                <a:latin typeface="+mn-lt"/>
                <a:ea typeface="+mn-ea"/>
                <a:cs typeface="Arial"/>
              </a:rPr>
              <a:t>/ / / / / / / / / / / / / / / / / / / / / / / / / / / / / / / / / </a:t>
            </a:r>
          </a:p>
          <a:p>
            <a:pPr algn="ctr"/>
            <a:endParaRPr lang="en-US" dirty="0"/>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457200" y="6858000"/>
            <a:ext cx="2133600" cy="365125"/>
          </a:xfrm>
          <a:prstGeom prst="rect">
            <a:avLst/>
          </a:prstGeom>
        </p:spPr>
        <p:txBody>
          <a:bodyPr/>
          <a:lstStyle/>
          <a:p>
            <a:fld id="{57C6EFC3-83FC-49CF-A1BD-B4DC55DB1C57}" type="datetime1">
              <a:rPr lang="en-US" smtClean="0"/>
              <a:pPr/>
              <a:t>1/4/2016</a:t>
            </a:fld>
            <a:endParaRPr lang="en-US"/>
          </a:p>
        </p:txBody>
      </p:sp>
      <p:sp>
        <p:nvSpPr>
          <p:cNvPr id="5" name="Slide Number Placeholder 4"/>
          <p:cNvSpPr>
            <a:spLocks noGrp="1"/>
          </p:cNvSpPr>
          <p:nvPr>
            <p:ph type="sldNum" sz="quarter" idx="12"/>
          </p:nvPr>
        </p:nvSpPr>
        <p:spPr/>
        <p:txBody>
          <a:bodyPr/>
          <a:lstStyle/>
          <a:p>
            <a:fld id="{B383C57C-80DA-45D5-BFE5-7583B8192761}"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858000"/>
            <a:ext cx="2133600" cy="365125"/>
          </a:xfrm>
          <a:prstGeom prst="rect">
            <a:avLst/>
          </a:prstGeom>
        </p:spPr>
        <p:txBody>
          <a:bodyPr/>
          <a:lstStyle/>
          <a:p>
            <a:fld id="{86F35E29-390C-4C0D-9472-BDD78FC60B0A}" type="datetime1">
              <a:rPr lang="en-US" smtClean="0"/>
              <a:pPr/>
              <a:t>1/4/2016</a:t>
            </a:fld>
            <a:endParaRPr lang="en-US"/>
          </a:p>
        </p:txBody>
      </p:sp>
      <p:sp>
        <p:nvSpPr>
          <p:cNvPr id="4" name="Slide Number Placeholder 3"/>
          <p:cNvSpPr>
            <a:spLocks noGrp="1"/>
          </p:cNvSpPr>
          <p:nvPr>
            <p:ph type="sldNum" sz="quarter" idx="12"/>
          </p:nvPr>
        </p:nvSpPr>
        <p:spPr/>
        <p:txBody>
          <a:bodyPr/>
          <a:lstStyle/>
          <a:p>
            <a:fld id="{B383C57C-80DA-45D5-BFE5-7583B8192761}" type="slidenum">
              <a:rPr lang="en-US" smtClean="0"/>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Date Placeholder 4"/>
          <p:cNvSpPr>
            <a:spLocks noGrp="1"/>
          </p:cNvSpPr>
          <p:nvPr>
            <p:ph type="dt" sz="half" idx="10"/>
          </p:nvPr>
        </p:nvSpPr>
        <p:spPr>
          <a:xfrm>
            <a:off x="457200" y="6858000"/>
            <a:ext cx="2133600" cy="365125"/>
          </a:xfrm>
          <a:prstGeom prst="rect">
            <a:avLst/>
          </a:prstGeom>
        </p:spPr>
        <p:txBody>
          <a:bodyPr/>
          <a:lstStyle/>
          <a:p>
            <a:fld id="{9B6A5050-613D-4D67-8D88-782865951968}" type="datetime1">
              <a:rPr lang="en-US" smtClean="0"/>
              <a:pPr/>
              <a:t>1/4/2016</a:t>
            </a:fld>
            <a:endParaRPr lang="en-US"/>
          </a:p>
        </p:txBody>
      </p:sp>
      <p:sp>
        <p:nvSpPr>
          <p:cNvPr id="7" name="Slide Number Placeholder 6"/>
          <p:cNvSpPr>
            <a:spLocks noGrp="1"/>
          </p:cNvSpPr>
          <p:nvPr>
            <p:ph type="sldNum" sz="quarter" idx="12"/>
          </p:nvPr>
        </p:nvSpPr>
        <p:spPr/>
        <p:txBody>
          <a:bodyPr/>
          <a:lstStyle/>
          <a:p>
            <a:fld id="{B383C57C-80DA-45D5-BFE5-7583B8192761}" type="slidenum">
              <a:rPr lang="en-US" smtClean="0"/>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858000"/>
            <a:ext cx="2133600" cy="365125"/>
          </a:xfrm>
          <a:prstGeom prst="rect">
            <a:avLst/>
          </a:prstGeom>
        </p:spPr>
        <p:txBody>
          <a:bodyPr/>
          <a:lstStyle/>
          <a:p>
            <a:fld id="{BAA355D3-19C1-41A1-9142-587DD54A8D64}" type="datetime1">
              <a:rPr lang="en-US" smtClean="0"/>
              <a:pPr/>
              <a:t>1/4/2016</a:t>
            </a:fld>
            <a:endParaRPr lang="en-US"/>
          </a:p>
        </p:txBody>
      </p:sp>
      <p:sp>
        <p:nvSpPr>
          <p:cNvPr id="7" name="Slide Number Placeholder 6"/>
          <p:cNvSpPr>
            <a:spLocks noGrp="1"/>
          </p:cNvSpPr>
          <p:nvPr>
            <p:ph type="sldNum" sz="quarter" idx="12"/>
          </p:nvPr>
        </p:nvSpPr>
        <p:spPr/>
        <p:txBody>
          <a:bodyPr/>
          <a:lstStyle/>
          <a:p>
            <a:fld id="{B383C57C-80DA-45D5-BFE5-7583B8192761}"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2pPr>
              <a:spcBef>
                <a:spcPts val="800"/>
              </a:spcBef>
              <a:buFont typeface="Arial" pitchFamily="34" charset="0"/>
              <a:buChar char="»"/>
              <a:defRPr/>
            </a:lvl2pPr>
            <a:lvl3pPr>
              <a:spcAft>
                <a:spcPts val="200"/>
              </a:spcAft>
              <a:buFont typeface="Arial" pitchFamily="34" charset="0"/>
              <a:buChar char="•"/>
              <a:defRPr/>
            </a:lvl3pPr>
            <a:lvl4pPr>
              <a:buFont typeface="Arial" pitchFamily="34" charset="0"/>
              <a:buChar char="–"/>
              <a:defRPr/>
            </a:lvl4pPr>
            <a:lvl5pPr>
              <a:buFont typeface="Arial"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858000"/>
            <a:ext cx="2133600" cy="365125"/>
          </a:xfrm>
          <a:prstGeom prst="rect">
            <a:avLst/>
          </a:prstGeom>
        </p:spPr>
        <p:txBody>
          <a:bodyPr/>
          <a:lstStyle/>
          <a:p>
            <a:fld id="{491E47CA-FE4E-42D0-85FE-B62CF5AB7626}" type="datetime1">
              <a:rPr lang="en-US" smtClean="0"/>
              <a:pPr/>
              <a:t>1/4/2016</a:t>
            </a:fld>
            <a:endParaRPr lang="en-US"/>
          </a:p>
        </p:txBody>
      </p:sp>
      <p:sp>
        <p:nvSpPr>
          <p:cNvPr id="6" name="Slide Number Placeholder 5"/>
          <p:cNvSpPr>
            <a:spLocks noGrp="1"/>
          </p:cNvSpPr>
          <p:nvPr>
            <p:ph type="sldNum" sz="quarter" idx="12"/>
          </p:nvPr>
        </p:nvSpPr>
        <p:spPr/>
        <p:txBody>
          <a:bodyPr/>
          <a:lstStyle/>
          <a:p>
            <a:fld id="{B383C57C-80DA-45D5-BFE5-7583B8192761}"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hasCustomPrompt="1"/>
          </p:nvPr>
        </p:nvSpPr>
        <p:spPr>
          <a:xfrm>
            <a:off x="457201" y="1452564"/>
            <a:ext cx="2539999" cy="5126036"/>
          </a:xfrm>
        </p:spPr>
        <p:txBody>
          <a:bodyPr/>
          <a:lstStyle>
            <a:lvl2pPr marL="114300" indent="-114300">
              <a:spcBef>
                <a:spcPts val="0"/>
              </a:spcBef>
              <a:spcAft>
                <a:spcPts val="600"/>
              </a:spcAft>
              <a:buFont typeface="Arial" pitchFamily="34" charset="0"/>
              <a:buChar char="»"/>
              <a:defRPr sz="1200"/>
            </a:lvl2pPr>
            <a:lvl3pPr marL="228600" indent="-101600">
              <a:spcBef>
                <a:spcPts val="0"/>
              </a:spcBef>
              <a:spcAft>
                <a:spcPts val="600"/>
              </a:spcAft>
              <a:buFont typeface="Arial" pitchFamily="34" charset="0"/>
              <a:buChar char="•"/>
              <a:defRPr sz="1050"/>
            </a:lvl3pPr>
            <a:lvl4pPr marL="457200" indent="-165100">
              <a:spcBef>
                <a:spcPts val="0"/>
              </a:spcBef>
              <a:spcAft>
                <a:spcPts val="600"/>
              </a:spcAft>
              <a:buFont typeface="Arial" pitchFamily="34" charset="0"/>
              <a:buChar char="–"/>
              <a:defRPr sz="1050"/>
            </a:lvl4pPr>
            <a:lvl5pPr marL="685800" indent="-165100">
              <a:spcBef>
                <a:spcPts val="0"/>
              </a:spcBef>
              <a:spcAft>
                <a:spcPts val="600"/>
              </a:spcAft>
              <a:buFont typeface="Arial" pitchFamily="34" charset="0"/>
              <a:buChar char="–"/>
              <a:defRPr sz="1050"/>
            </a:lvl5pPr>
          </a:lstStyle>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858000"/>
            <a:ext cx="2133600" cy="365125"/>
          </a:xfrm>
          <a:prstGeom prst="rect">
            <a:avLst/>
          </a:prstGeom>
        </p:spPr>
        <p:txBody>
          <a:bodyPr/>
          <a:lstStyle/>
          <a:p>
            <a:fld id="{491E47CA-FE4E-42D0-85FE-B62CF5AB7626}" type="datetime1">
              <a:rPr lang="en-US" smtClean="0"/>
              <a:pPr/>
              <a:t>1/4/2016</a:t>
            </a:fld>
            <a:endParaRPr lang="en-US"/>
          </a:p>
        </p:txBody>
      </p:sp>
      <p:sp>
        <p:nvSpPr>
          <p:cNvPr id="6" name="Slide Number Placeholder 5"/>
          <p:cNvSpPr>
            <a:spLocks noGrp="1"/>
          </p:cNvSpPr>
          <p:nvPr>
            <p:ph type="sldNum" sz="quarter" idx="12"/>
          </p:nvPr>
        </p:nvSpPr>
        <p:spPr/>
        <p:txBody>
          <a:bodyPr/>
          <a:lstStyle/>
          <a:p>
            <a:fld id="{B383C57C-80DA-45D5-BFE5-7583B8192761}" type="slidenum">
              <a:rPr lang="en-US" smtClean="0"/>
              <a:pPr/>
              <a:t>‹#›</a:t>
            </a:fld>
            <a:endParaRPr lang="en-US"/>
          </a:p>
        </p:txBody>
      </p:sp>
      <p:sp>
        <p:nvSpPr>
          <p:cNvPr id="8" name="Text Placeholder 7"/>
          <p:cNvSpPr>
            <a:spLocks noGrp="1"/>
          </p:cNvSpPr>
          <p:nvPr>
            <p:ph type="body" sz="quarter" idx="13" hasCustomPrompt="1"/>
          </p:nvPr>
        </p:nvSpPr>
        <p:spPr>
          <a:xfrm>
            <a:off x="3081863" y="1452564"/>
            <a:ext cx="2540002" cy="5126036"/>
          </a:xfrm>
        </p:spPr>
        <p:txBody>
          <a:bodyPr>
            <a:normAutofit/>
          </a:bodyPr>
          <a:lstStyle>
            <a:lvl2pPr marL="114300" indent="-114300">
              <a:spcBef>
                <a:spcPts val="0"/>
              </a:spcBef>
              <a:spcAft>
                <a:spcPts val="600"/>
              </a:spcAft>
              <a:defRPr sz="1200"/>
            </a:lvl2pPr>
            <a:lvl3pPr marL="228600" indent="-109538">
              <a:spcBef>
                <a:spcPts val="0"/>
              </a:spcBef>
              <a:spcAft>
                <a:spcPts val="600"/>
              </a:spcAft>
              <a:defRPr sz="1050"/>
            </a:lvl3pPr>
            <a:lvl4pPr marL="457200" indent="-165100">
              <a:spcBef>
                <a:spcPts val="0"/>
              </a:spcBef>
              <a:spcAft>
                <a:spcPts val="600"/>
              </a:spcAft>
              <a:defRPr sz="1050"/>
            </a:lvl4pPr>
            <a:lvl5pPr marL="685800" indent="-169863">
              <a:spcBef>
                <a:spcPts val="0"/>
              </a:spcBef>
              <a:spcAft>
                <a:spcPts val="600"/>
              </a:spcAft>
              <a:defRPr sz="1050"/>
            </a:lvl5pPr>
          </a:lstStyle>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4" hasCustomPrompt="1"/>
          </p:nvPr>
        </p:nvSpPr>
        <p:spPr>
          <a:xfrm>
            <a:off x="5706001" y="1452564"/>
            <a:ext cx="2548996" cy="5126038"/>
          </a:xfrm>
        </p:spPr>
        <p:txBody>
          <a:bodyPr>
            <a:normAutofit/>
          </a:bodyPr>
          <a:lstStyle>
            <a:lvl2pPr marL="119063" indent="-119063">
              <a:spcBef>
                <a:spcPts val="0"/>
              </a:spcBef>
              <a:spcAft>
                <a:spcPts val="600"/>
              </a:spcAft>
              <a:defRPr sz="1200"/>
            </a:lvl2pPr>
            <a:lvl3pPr marL="228600" indent="-114300">
              <a:spcBef>
                <a:spcPts val="0"/>
              </a:spcBef>
              <a:spcAft>
                <a:spcPts val="600"/>
              </a:spcAft>
              <a:defRPr sz="1050"/>
            </a:lvl3pPr>
            <a:lvl4pPr marL="457200" indent="-169863">
              <a:spcBef>
                <a:spcPts val="0"/>
              </a:spcBef>
              <a:spcAft>
                <a:spcPts val="600"/>
              </a:spcAft>
              <a:defRPr sz="1050"/>
            </a:lvl4pPr>
            <a:lvl5pPr marL="685800" indent="-169863">
              <a:spcBef>
                <a:spcPts val="0"/>
              </a:spcBef>
              <a:spcAft>
                <a:spcPts val="600"/>
              </a:spcAft>
              <a:defRPr sz="1050"/>
            </a:lvl5pPr>
          </a:lstStyle>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Date Placeholder 3"/>
          <p:cNvSpPr>
            <a:spLocks noGrp="1"/>
          </p:cNvSpPr>
          <p:nvPr>
            <p:ph type="dt" sz="half" idx="10"/>
          </p:nvPr>
        </p:nvSpPr>
        <p:spPr>
          <a:xfrm>
            <a:off x="457200" y="6858000"/>
            <a:ext cx="2133600" cy="365125"/>
          </a:xfrm>
          <a:prstGeom prst="rect">
            <a:avLst/>
          </a:prstGeom>
        </p:spPr>
        <p:txBody>
          <a:bodyPr/>
          <a:lstStyle/>
          <a:p>
            <a:fld id="{491E47CA-FE4E-42D0-85FE-B62CF5AB7626}" type="datetime1">
              <a:rPr lang="en-US" smtClean="0"/>
              <a:pPr/>
              <a:t>1/4/2016</a:t>
            </a:fld>
            <a:endParaRPr lang="en-US"/>
          </a:p>
        </p:txBody>
      </p:sp>
      <p:sp>
        <p:nvSpPr>
          <p:cNvPr id="6" name="Slide Number Placeholder 5"/>
          <p:cNvSpPr>
            <a:spLocks noGrp="1"/>
          </p:cNvSpPr>
          <p:nvPr>
            <p:ph type="sldNum" sz="quarter" idx="12"/>
          </p:nvPr>
        </p:nvSpPr>
        <p:spPr/>
        <p:txBody>
          <a:bodyPr/>
          <a:lstStyle/>
          <a:p>
            <a:fld id="{B383C57C-80DA-45D5-BFE5-7583B8192761}" type="slidenum">
              <a:rPr lang="en-US" smtClean="0"/>
              <a:pPr/>
              <a:t>‹#›</a:t>
            </a:fld>
            <a:endParaRPr lang="en-US"/>
          </a:p>
        </p:txBody>
      </p:sp>
      <p:sp>
        <p:nvSpPr>
          <p:cNvPr id="8" name="Text Placeholder 7"/>
          <p:cNvSpPr>
            <a:spLocks noGrp="1"/>
          </p:cNvSpPr>
          <p:nvPr>
            <p:ph type="body" sz="quarter" idx="13" hasCustomPrompt="1"/>
          </p:nvPr>
        </p:nvSpPr>
        <p:spPr>
          <a:xfrm>
            <a:off x="455613" y="1452564"/>
            <a:ext cx="3875087" cy="5126036"/>
          </a:xfrm>
          <a:noFill/>
        </p:spPr>
        <p:txBody>
          <a:bodyPr>
            <a:normAutofit/>
          </a:bodyPr>
          <a:lstStyle>
            <a:lvl2pPr marL="114300" indent="-114300">
              <a:spcBef>
                <a:spcPts val="600"/>
              </a:spcBef>
              <a:spcAft>
                <a:spcPts val="300"/>
              </a:spcAft>
              <a:buFontTx/>
              <a:buNone/>
              <a:defRPr sz="1800" b="1" cap="all">
                <a:solidFill>
                  <a:srgbClr val="F78E1E"/>
                </a:solidFill>
              </a:defRPr>
            </a:lvl2pPr>
            <a:lvl3pPr marL="0" indent="0">
              <a:spcBef>
                <a:spcPts val="600"/>
              </a:spcBef>
              <a:spcAft>
                <a:spcPts val="600"/>
              </a:spcAft>
              <a:buClrTx/>
              <a:buFontTx/>
              <a:buNone/>
              <a:defRPr sz="1400" b="1" cap="all"/>
            </a:lvl3pPr>
            <a:lvl4pPr marL="292100" indent="-177800">
              <a:spcBef>
                <a:spcPts val="0"/>
              </a:spcBef>
              <a:spcAft>
                <a:spcPts val="600"/>
              </a:spcAft>
              <a:buFont typeface="Lucida Grande"/>
              <a:buChar char="»"/>
              <a:defRPr sz="1200"/>
            </a:lvl4pPr>
            <a:lvl5pPr marL="685800" indent="-169863">
              <a:spcBef>
                <a:spcPts val="0"/>
              </a:spcBef>
              <a:spcAft>
                <a:spcPts val="600"/>
              </a:spcAft>
              <a:defRPr sz="1050"/>
            </a:lvl5pPr>
          </a:lstStyle>
          <a:p>
            <a:pPr lvl="1"/>
            <a:r>
              <a:rPr lang="en-US" dirty="0" smtClean="0"/>
              <a:t>Second level</a:t>
            </a:r>
          </a:p>
          <a:p>
            <a:pPr lvl="2"/>
            <a:r>
              <a:rPr lang="en-US" dirty="0" smtClean="0"/>
              <a:t>Third level</a:t>
            </a:r>
          </a:p>
          <a:p>
            <a:pPr lvl="3"/>
            <a:r>
              <a:rPr lang="en-US" dirty="0" smtClean="0"/>
              <a:t>Fourth level</a:t>
            </a:r>
          </a:p>
          <a:p>
            <a:pPr lvl="2"/>
            <a:endParaRPr lang="en-US" dirty="0" smtClean="0"/>
          </a:p>
          <a:p>
            <a:pPr lvl="3"/>
            <a:endParaRPr lang="en-US" dirty="0"/>
          </a:p>
        </p:txBody>
      </p:sp>
      <p:sp>
        <p:nvSpPr>
          <p:cNvPr id="12" name="Text Placeholder 11"/>
          <p:cNvSpPr>
            <a:spLocks noGrp="1"/>
          </p:cNvSpPr>
          <p:nvPr>
            <p:ph type="body" sz="quarter" idx="14" hasCustomPrompt="1"/>
          </p:nvPr>
        </p:nvSpPr>
        <p:spPr>
          <a:xfrm>
            <a:off x="4470399" y="1452564"/>
            <a:ext cx="3663951" cy="5126038"/>
          </a:xfrm>
          <a:noFill/>
        </p:spPr>
        <p:txBody>
          <a:bodyPr>
            <a:normAutofit/>
          </a:bodyPr>
          <a:lstStyle>
            <a:lvl2pPr marL="119063" indent="-119063">
              <a:spcBef>
                <a:spcPts val="600"/>
              </a:spcBef>
              <a:spcAft>
                <a:spcPts val="300"/>
              </a:spcAft>
              <a:buFontTx/>
              <a:buNone/>
              <a:defRPr sz="1800" b="1" cap="all">
                <a:solidFill>
                  <a:srgbClr val="F78E1E"/>
                </a:solidFill>
              </a:defRPr>
            </a:lvl2pPr>
            <a:lvl3pPr marL="0" indent="0">
              <a:spcBef>
                <a:spcPts val="600"/>
              </a:spcBef>
              <a:spcAft>
                <a:spcPts val="600"/>
              </a:spcAft>
              <a:buFontTx/>
              <a:buNone/>
              <a:defRPr sz="1400" b="1" cap="all"/>
            </a:lvl3pPr>
            <a:lvl4pPr marL="292100" indent="-177800">
              <a:spcBef>
                <a:spcPts val="0"/>
              </a:spcBef>
              <a:spcAft>
                <a:spcPts val="600"/>
              </a:spcAft>
              <a:buFont typeface="Lucida Grande"/>
              <a:buChar char="»"/>
              <a:defRPr sz="1200"/>
            </a:lvl4pPr>
            <a:lvl5pPr marL="685800" indent="-169863">
              <a:spcBef>
                <a:spcPts val="0"/>
              </a:spcBef>
              <a:spcAft>
                <a:spcPts val="600"/>
              </a:spcAft>
              <a:defRPr sz="1050"/>
            </a:lvl5pPr>
          </a:lstStyle>
          <a:p>
            <a:pPr lvl="1"/>
            <a:r>
              <a:rPr lang="en-US" dirty="0" smtClean="0"/>
              <a:t>Second level</a:t>
            </a:r>
          </a:p>
          <a:p>
            <a:pPr lvl="2"/>
            <a:r>
              <a:rPr lang="en-US" dirty="0" smtClean="0"/>
              <a:t>Third level</a:t>
            </a:r>
          </a:p>
          <a:p>
            <a:pPr lvl="3"/>
            <a:r>
              <a:rPr lang="en-US" dirty="0" smtClean="0"/>
              <a:t>Fourth level</a:t>
            </a:r>
          </a:p>
          <a:p>
            <a:pPr lvl="2"/>
            <a:endParaRPr lang="en-US" dirty="0" smtClean="0"/>
          </a:p>
          <a:p>
            <a:pPr lvl="3"/>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Date Placeholder 3"/>
          <p:cNvSpPr>
            <a:spLocks noGrp="1"/>
          </p:cNvSpPr>
          <p:nvPr>
            <p:ph type="dt" sz="half" idx="10"/>
          </p:nvPr>
        </p:nvSpPr>
        <p:spPr>
          <a:xfrm>
            <a:off x="457200" y="6858000"/>
            <a:ext cx="2133600" cy="365125"/>
          </a:xfrm>
          <a:prstGeom prst="rect">
            <a:avLst/>
          </a:prstGeom>
        </p:spPr>
        <p:txBody>
          <a:bodyPr/>
          <a:lstStyle/>
          <a:p>
            <a:fld id="{491E47CA-FE4E-42D0-85FE-B62CF5AB7626}" type="datetime1">
              <a:rPr lang="en-US" smtClean="0"/>
              <a:pPr/>
              <a:t>1/4/2016</a:t>
            </a:fld>
            <a:endParaRPr lang="en-US"/>
          </a:p>
        </p:txBody>
      </p:sp>
      <p:sp>
        <p:nvSpPr>
          <p:cNvPr id="6" name="Slide Number Placeholder 5"/>
          <p:cNvSpPr>
            <a:spLocks noGrp="1"/>
          </p:cNvSpPr>
          <p:nvPr>
            <p:ph type="sldNum" sz="quarter" idx="12"/>
          </p:nvPr>
        </p:nvSpPr>
        <p:spPr/>
        <p:txBody>
          <a:bodyPr/>
          <a:lstStyle/>
          <a:p>
            <a:fld id="{B383C57C-80DA-45D5-BFE5-7583B8192761}" type="slidenum">
              <a:rPr lang="en-US" smtClean="0"/>
              <a:pPr/>
              <a:t>‹#›</a:t>
            </a:fld>
            <a:endParaRPr lang="en-US"/>
          </a:p>
        </p:txBody>
      </p:sp>
      <p:sp>
        <p:nvSpPr>
          <p:cNvPr id="8" name="Text Placeholder 7"/>
          <p:cNvSpPr>
            <a:spLocks noGrp="1"/>
          </p:cNvSpPr>
          <p:nvPr>
            <p:ph type="body" sz="quarter" idx="13" hasCustomPrompt="1"/>
          </p:nvPr>
        </p:nvSpPr>
        <p:spPr>
          <a:xfrm>
            <a:off x="455613" y="1452564"/>
            <a:ext cx="2899219" cy="5126036"/>
          </a:xfrm>
        </p:spPr>
        <p:txBody>
          <a:bodyPr>
            <a:normAutofit/>
          </a:bodyPr>
          <a:lstStyle>
            <a:lvl1pPr>
              <a:defRPr sz="1800" b="0" cap="none">
                <a:solidFill>
                  <a:srgbClr val="F78E1E"/>
                </a:solidFill>
              </a:defRPr>
            </a:lvl1pPr>
            <a:lvl2pPr marL="0" indent="-114300">
              <a:spcBef>
                <a:spcPts val="0"/>
              </a:spcBef>
              <a:spcAft>
                <a:spcPts val="0"/>
              </a:spcAft>
              <a:buFontTx/>
              <a:buNone/>
              <a:defRPr sz="1800">
                <a:solidFill>
                  <a:srgbClr val="F78E1E"/>
                </a:solidFill>
              </a:defRPr>
            </a:lvl2pPr>
            <a:lvl3pPr marL="0" indent="-109538">
              <a:spcBef>
                <a:spcPts val="0"/>
              </a:spcBef>
              <a:spcAft>
                <a:spcPts val="0"/>
              </a:spcAft>
              <a:buFontTx/>
              <a:buNone/>
              <a:defRPr sz="1800">
                <a:solidFill>
                  <a:srgbClr val="F78E1E"/>
                </a:solidFill>
              </a:defRPr>
            </a:lvl3pPr>
            <a:lvl4pPr marL="0" indent="-165100">
              <a:spcBef>
                <a:spcPts val="0"/>
              </a:spcBef>
              <a:spcAft>
                <a:spcPts val="0"/>
              </a:spcAft>
              <a:buFontTx/>
              <a:buNone/>
              <a:defRPr sz="1800">
                <a:solidFill>
                  <a:srgbClr val="F78E1E"/>
                </a:solidFill>
              </a:defRPr>
            </a:lvl4pPr>
            <a:lvl5pPr marL="0" indent="-169863">
              <a:spcBef>
                <a:spcPts val="0"/>
              </a:spcBef>
              <a:spcAft>
                <a:spcPts val="0"/>
              </a:spcAft>
              <a:buFontTx/>
              <a:buNone/>
              <a:defRPr sz="1800">
                <a:solidFill>
                  <a:srgbClr val="F78E1E"/>
                </a:solidFill>
              </a:defRPr>
            </a:lvl5pPr>
          </a:lstStyle>
          <a:p>
            <a:pPr lvl="0"/>
            <a:r>
              <a:rPr lang="en-US" dirty="0" smtClean="0"/>
              <a:t>Second level</a:t>
            </a:r>
          </a:p>
        </p:txBody>
      </p:sp>
      <p:sp>
        <p:nvSpPr>
          <p:cNvPr id="12" name="Text Placeholder 11"/>
          <p:cNvSpPr>
            <a:spLocks noGrp="1"/>
          </p:cNvSpPr>
          <p:nvPr>
            <p:ph type="body" sz="quarter" idx="14" hasCustomPrompt="1"/>
          </p:nvPr>
        </p:nvSpPr>
        <p:spPr>
          <a:xfrm>
            <a:off x="3619501" y="1452564"/>
            <a:ext cx="4514850" cy="5405436"/>
          </a:xfrm>
        </p:spPr>
        <p:txBody>
          <a:bodyPr>
            <a:normAutofit/>
          </a:bodyPr>
          <a:lstStyle>
            <a:lvl1pPr marL="0" indent="0">
              <a:lnSpc>
                <a:spcPct val="100000"/>
              </a:lnSpc>
              <a:defRPr sz="1400" b="1" cap="all"/>
            </a:lvl1pPr>
            <a:lvl2pPr marL="0" indent="0">
              <a:lnSpc>
                <a:spcPct val="100000"/>
              </a:lnSpc>
              <a:spcBef>
                <a:spcPts val="0"/>
              </a:spcBef>
              <a:spcAft>
                <a:spcPts val="1200"/>
              </a:spcAft>
              <a:buFontTx/>
              <a:buNone/>
              <a:defRPr sz="1200"/>
            </a:lvl2pPr>
            <a:lvl3pPr marL="228600" indent="-114300">
              <a:spcBef>
                <a:spcPts val="0"/>
              </a:spcBef>
              <a:spcAft>
                <a:spcPts val="600"/>
              </a:spcAft>
              <a:defRPr sz="1050"/>
            </a:lvl3pPr>
            <a:lvl4pPr marL="457200" indent="-169863">
              <a:spcBef>
                <a:spcPts val="0"/>
              </a:spcBef>
              <a:spcAft>
                <a:spcPts val="600"/>
              </a:spcAft>
              <a:defRPr sz="1050"/>
            </a:lvl4pPr>
            <a:lvl5pPr marL="685800" indent="-169863">
              <a:spcBef>
                <a:spcPts val="0"/>
              </a:spcBef>
              <a:spcAft>
                <a:spcPts val="600"/>
              </a:spcAft>
              <a:defRPr sz="1050"/>
            </a:lvl5pPr>
          </a:lstStyle>
          <a:p>
            <a:pPr lvl="0"/>
            <a:r>
              <a:rPr lang="en-US" dirty="0" smtClean="0"/>
              <a:t>Second level</a:t>
            </a:r>
          </a:p>
          <a:p>
            <a:pPr lvl="1"/>
            <a:r>
              <a:rPr lang="en-US" dirty="0" smtClean="0"/>
              <a:t>Third level</a:t>
            </a:r>
          </a:p>
          <a:p>
            <a:pPr lvl="0"/>
            <a:endParaRPr lang="en-US" dirty="0" smtClean="0"/>
          </a:p>
          <a:p>
            <a:pPr lvl="1"/>
            <a:endParaRPr lang="en-US" dirty="0" smtClean="0"/>
          </a:p>
          <a:p>
            <a:pPr lvl="1"/>
            <a:endParaRPr lang="en-US" dirty="0" smtClean="0"/>
          </a:p>
          <a:p>
            <a:pPr lvl="0"/>
            <a:endParaRPr lang="en-US" dirty="0" smtClean="0"/>
          </a:p>
          <a:p>
            <a:pPr lvl="1"/>
            <a:endParaRPr lang="en-US" dirty="0" smtClean="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descr="BBG_Gradients-15.jpg"/>
          <p:cNvPicPr>
            <a:picLocks noChangeAspect="1"/>
          </p:cNvPicPr>
          <p:nvPr userDrawn="1"/>
        </p:nvPicPr>
        <p:blipFill>
          <a:blip r:embed="rId2" cstate="print"/>
          <a:stretch>
            <a:fillRect/>
          </a:stretch>
        </p:blipFill>
        <p:spPr bwMode="gray">
          <a:xfrm>
            <a:off x="0" y="0"/>
            <a:ext cx="9144000" cy="6865951"/>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B383C57C-80DA-45D5-BFE5-7583B8192761}" type="slidenum">
              <a:rPr lang="en-US" smtClean="0"/>
              <a:pPr/>
              <a:t>‹#›</a:t>
            </a:fld>
            <a:endParaRPr lang="en-US" dirty="0"/>
          </a:p>
        </p:txBody>
      </p:sp>
      <p:sp>
        <p:nvSpPr>
          <p:cNvPr id="2" name="Title 1"/>
          <p:cNvSpPr>
            <a:spLocks noGrp="1"/>
          </p:cNvSpPr>
          <p:nvPr>
            <p:ph type="title"/>
          </p:nvPr>
        </p:nvSpPr>
        <p:spPr>
          <a:xfrm>
            <a:off x="-230684" y="524455"/>
            <a:ext cx="9469967" cy="3560764"/>
          </a:xfrm>
        </p:spPr>
        <p:txBody>
          <a:bodyPr anchor="t" anchorCtr="0">
            <a:noAutofit/>
          </a:bodyPr>
          <a:lstStyle>
            <a:lvl1pPr algn="l">
              <a:lnSpc>
                <a:spcPct val="69000"/>
              </a:lnSpc>
              <a:defRPr sz="10000" b="1" cap="all" spc="-300">
                <a:solidFill>
                  <a:schemeClr val="bg1"/>
                </a:solidFill>
              </a:defRPr>
            </a:lvl1pPr>
          </a:lstStyle>
          <a:p>
            <a:r>
              <a:rPr lang="en-US" dirty="0" smtClean="0"/>
              <a:t>Click to edit Master title style</a:t>
            </a:r>
            <a:endParaRPr lang="en-US" dirty="0"/>
          </a:p>
        </p:txBody>
      </p:sp>
      <p:sp>
        <p:nvSpPr>
          <p:cNvPr id="4" name="Date Placeholder 3"/>
          <p:cNvSpPr>
            <a:spLocks noGrp="1"/>
          </p:cNvSpPr>
          <p:nvPr>
            <p:ph type="dt" sz="half" idx="10"/>
          </p:nvPr>
        </p:nvSpPr>
        <p:spPr>
          <a:xfrm>
            <a:off x="457200" y="6858000"/>
            <a:ext cx="2133600" cy="365125"/>
          </a:xfrm>
          <a:prstGeom prst="rect">
            <a:avLst/>
          </a:prstGeom>
        </p:spPr>
        <p:txBody>
          <a:bodyPr/>
          <a:lstStyle/>
          <a:p>
            <a:fld id="{47CA4806-5749-4579-93F3-C20A129D7CFD}" type="datetime1">
              <a:rPr lang="en-US" smtClean="0"/>
              <a:pPr/>
              <a:t>1/4/2016</a:t>
            </a:fld>
            <a:endParaRPr lang="en-US"/>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5" name="Picture 4" descr="BBG_Gradients-15.jpg"/>
          <p:cNvPicPr>
            <a:picLocks noChangeAspect="1"/>
          </p:cNvPicPr>
          <p:nvPr userDrawn="1"/>
        </p:nvPicPr>
        <p:blipFill>
          <a:blip r:embed="rId2" cstate="print"/>
          <a:stretch>
            <a:fillRect/>
          </a:stretch>
        </p:blipFill>
        <p:spPr bwMode="gray">
          <a:xfrm>
            <a:off x="0" y="0"/>
            <a:ext cx="9144000" cy="6865951"/>
          </a:xfrm>
          <a:prstGeom prst="rect">
            <a:avLst/>
          </a:prstGeom>
        </p:spPr>
      </p:pic>
      <p:sp>
        <p:nvSpPr>
          <p:cNvPr id="2" name="Title 1"/>
          <p:cNvSpPr>
            <a:spLocks noGrp="1"/>
          </p:cNvSpPr>
          <p:nvPr>
            <p:ph type="title"/>
          </p:nvPr>
        </p:nvSpPr>
        <p:spPr>
          <a:xfrm>
            <a:off x="-230684" y="524455"/>
            <a:ext cx="9469967" cy="3560764"/>
          </a:xfrm>
        </p:spPr>
        <p:txBody>
          <a:bodyPr anchor="t" anchorCtr="0">
            <a:noAutofit/>
          </a:bodyPr>
          <a:lstStyle>
            <a:lvl1pPr algn="l">
              <a:lnSpc>
                <a:spcPct val="69000"/>
              </a:lnSpc>
              <a:defRPr sz="10000" b="1" cap="all" spc="-300">
                <a:solidFill>
                  <a:schemeClr val="bg1"/>
                </a:solidFill>
              </a:defRPr>
            </a:lvl1pPr>
          </a:lstStyle>
          <a:p>
            <a:r>
              <a:rPr lang="en-US" dirty="0" smtClean="0"/>
              <a:t>Click to edit Master title style</a:t>
            </a:r>
            <a:endParaRPr lang="en-US" dirty="0"/>
          </a:p>
        </p:txBody>
      </p:sp>
      <p:sp>
        <p:nvSpPr>
          <p:cNvPr id="4" name="Date Placeholder 3"/>
          <p:cNvSpPr>
            <a:spLocks noGrp="1"/>
          </p:cNvSpPr>
          <p:nvPr>
            <p:ph type="dt" sz="half" idx="10"/>
          </p:nvPr>
        </p:nvSpPr>
        <p:spPr>
          <a:xfrm>
            <a:off x="457200" y="6858000"/>
            <a:ext cx="2133600" cy="365125"/>
          </a:xfrm>
          <a:prstGeom prst="rect">
            <a:avLst/>
          </a:prstGeom>
        </p:spPr>
        <p:txBody>
          <a:bodyPr/>
          <a:lstStyle/>
          <a:p>
            <a:fld id="{47CA4806-5749-4579-93F3-C20A129D7CFD}" type="datetime1">
              <a:rPr lang="en-US" smtClean="0"/>
              <a:pPr/>
              <a:t>1/4/2016</a:t>
            </a:fld>
            <a:endParaRPr lang="en-US"/>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6" name="Picture 5" descr="BBG_Gradients-15.jpg"/>
          <p:cNvPicPr>
            <a:picLocks noChangeAspect="1"/>
          </p:cNvPicPr>
          <p:nvPr userDrawn="1"/>
        </p:nvPicPr>
        <p:blipFill>
          <a:blip r:embed="rId2" cstate="print"/>
          <a:stretch>
            <a:fillRect/>
          </a:stretch>
        </p:blipFill>
        <p:spPr bwMode="gray">
          <a:xfrm>
            <a:off x="0" y="0"/>
            <a:ext cx="9144000" cy="6865951"/>
          </a:xfrm>
          <a:prstGeom prst="rect">
            <a:avLst/>
          </a:prstGeom>
        </p:spPr>
      </p:pic>
      <p:sp>
        <p:nvSpPr>
          <p:cNvPr id="2" name="Title 1"/>
          <p:cNvSpPr>
            <a:spLocks noGrp="1"/>
          </p:cNvSpPr>
          <p:nvPr>
            <p:ph type="title"/>
          </p:nvPr>
        </p:nvSpPr>
        <p:spPr>
          <a:xfrm>
            <a:off x="-230684" y="524455"/>
            <a:ext cx="9469967" cy="3560764"/>
          </a:xfrm>
        </p:spPr>
        <p:txBody>
          <a:bodyPr anchor="t" anchorCtr="0">
            <a:noAutofit/>
          </a:bodyPr>
          <a:lstStyle>
            <a:lvl1pPr algn="l">
              <a:lnSpc>
                <a:spcPct val="69000"/>
              </a:lnSpc>
              <a:defRPr sz="10000" b="1" cap="all" spc="-300">
                <a:solidFill>
                  <a:schemeClr val="bg1"/>
                </a:solidFill>
              </a:defRPr>
            </a:lvl1pPr>
          </a:lstStyle>
          <a:p>
            <a:r>
              <a:rPr lang="en-US" dirty="0" smtClean="0"/>
              <a:t>Click to edit Master title style</a:t>
            </a:r>
            <a:endParaRPr lang="en-US" dirty="0"/>
          </a:p>
        </p:txBody>
      </p:sp>
      <p:sp>
        <p:nvSpPr>
          <p:cNvPr id="4" name="Date Placeholder 3"/>
          <p:cNvSpPr>
            <a:spLocks noGrp="1"/>
          </p:cNvSpPr>
          <p:nvPr>
            <p:ph type="dt" sz="half" idx="10"/>
          </p:nvPr>
        </p:nvSpPr>
        <p:spPr>
          <a:xfrm>
            <a:off x="457200" y="6858000"/>
            <a:ext cx="2133600" cy="365125"/>
          </a:xfrm>
          <a:prstGeom prst="rect">
            <a:avLst/>
          </a:prstGeom>
        </p:spPr>
        <p:txBody>
          <a:bodyPr/>
          <a:lstStyle/>
          <a:p>
            <a:fld id="{47CA4806-5749-4579-93F3-C20A129D7CFD}" type="datetime1">
              <a:rPr lang="en-US" smtClean="0"/>
              <a:pPr/>
              <a:t>1/4/2016</a:t>
            </a:fld>
            <a:endParaRPr lang="en-US"/>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pic>
        <p:nvPicPr>
          <p:cNvPr id="5" name="Picture 4" descr="BBG_Gradients-15.jpg"/>
          <p:cNvPicPr>
            <a:picLocks noChangeAspect="1"/>
          </p:cNvPicPr>
          <p:nvPr userDrawn="1"/>
        </p:nvPicPr>
        <p:blipFill>
          <a:blip r:embed="rId2" cstate="print"/>
          <a:stretch>
            <a:fillRect/>
          </a:stretch>
        </p:blipFill>
        <p:spPr bwMode="gray">
          <a:xfrm>
            <a:off x="0" y="0"/>
            <a:ext cx="9144000" cy="6865951"/>
          </a:xfrm>
          <a:prstGeom prst="rect">
            <a:avLst/>
          </a:prstGeom>
        </p:spPr>
      </p:pic>
      <p:sp>
        <p:nvSpPr>
          <p:cNvPr id="2" name="Title 1"/>
          <p:cNvSpPr>
            <a:spLocks noGrp="1"/>
          </p:cNvSpPr>
          <p:nvPr>
            <p:ph type="title"/>
          </p:nvPr>
        </p:nvSpPr>
        <p:spPr>
          <a:xfrm>
            <a:off x="-230684" y="524455"/>
            <a:ext cx="9469967" cy="3560764"/>
          </a:xfrm>
        </p:spPr>
        <p:txBody>
          <a:bodyPr anchor="t" anchorCtr="0">
            <a:noAutofit/>
          </a:bodyPr>
          <a:lstStyle>
            <a:lvl1pPr algn="l">
              <a:lnSpc>
                <a:spcPct val="69000"/>
              </a:lnSpc>
              <a:defRPr sz="10000" b="1" cap="all" spc="-300">
                <a:solidFill>
                  <a:schemeClr val="bg1"/>
                </a:solidFill>
              </a:defRPr>
            </a:lvl1pPr>
          </a:lstStyle>
          <a:p>
            <a:r>
              <a:rPr lang="en-US" dirty="0" smtClean="0"/>
              <a:t>Click to edit Master title style</a:t>
            </a:r>
            <a:endParaRPr lang="en-US" dirty="0"/>
          </a:p>
        </p:txBody>
      </p:sp>
      <p:sp>
        <p:nvSpPr>
          <p:cNvPr id="4" name="Date Placeholder 3"/>
          <p:cNvSpPr>
            <a:spLocks noGrp="1"/>
          </p:cNvSpPr>
          <p:nvPr>
            <p:ph type="dt" sz="half" idx="10"/>
          </p:nvPr>
        </p:nvSpPr>
        <p:spPr>
          <a:xfrm>
            <a:off x="457200" y="6858000"/>
            <a:ext cx="2133600" cy="365125"/>
          </a:xfrm>
          <a:prstGeom prst="rect">
            <a:avLst/>
          </a:prstGeom>
        </p:spPr>
        <p:txBody>
          <a:bodyPr/>
          <a:lstStyle/>
          <a:p>
            <a:fld id="{47CA4806-5749-4579-93F3-C20A129D7CFD}" type="datetime1">
              <a:rPr lang="en-US" smtClean="0"/>
              <a:pPr/>
              <a:t>1/4/2016</a:t>
            </a:fld>
            <a:endParaRPr lang="en-US"/>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file://localhost/Users/Sharon/WORK/BLOOMBERG/Degrees_2.png" TargetMode="Externa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Date Placeholder 3"/>
          <p:cNvSpPr txBox="1">
            <a:spLocks/>
          </p:cNvSpPr>
          <p:nvPr/>
        </p:nvSpPr>
        <p:spPr>
          <a:xfrm>
            <a:off x="8741834" y="962025"/>
            <a:ext cx="254000" cy="3714754"/>
          </a:xfrm>
          <a:prstGeom prst="rect">
            <a:avLst/>
          </a:prstGeom>
        </p:spPr>
        <p:txBody>
          <a:bodyPr vert="vert270"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606060"/>
                </a:solidFill>
                <a:effectLst/>
                <a:uLnTx/>
                <a:uFillTx/>
                <a:latin typeface="+mn-lt"/>
                <a:ea typeface="+mn-ea"/>
                <a:cs typeface="+mn-cs"/>
              </a:rPr>
              <a:t>TRADING SOLUTIONS PMO</a:t>
            </a:r>
            <a:endParaRPr kumimoji="0" lang="en-US" sz="140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2" name="Title Placeholder 1"/>
          <p:cNvSpPr>
            <a:spLocks noGrp="1"/>
          </p:cNvSpPr>
          <p:nvPr>
            <p:ph type="title"/>
          </p:nvPr>
        </p:nvSpPr>
        <p:spPr>
          <a:xfrm>
            <a:off x="457200" y="317500"/>
            <a:ext cx="7677150" cy="9652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452564"/>
            <a:ext cx="7677150" cy="517048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1"/>
            <a:endParaRPr lang="en-US" dirty="0" smtClean="0"/>
          </a:p>
        </p:txBody>
      </p:sp>
      <p:sp>
        <p:nvSpPr>
          <p:cNvPr id="6" name="Slide Number Placeholder 5"/>
          <p:cNvSpPr>
            <a:spLocks noGrp="1"/>
          </p:cNvSpPr>
          <p:nvPr>
            <p:ph type="sldNum" sz="quarter" idx="4"/>
          </p:nvPr>
        </p:nvSpPr>
        <p:spPr>
          <a:xfrm rot="5400000">
            <a:off x="8687786" y="156048"/>
            <a:ext cx="351448" cy="481450"/>
          </a:xfrm>
          <a:prstGeom prst="rect">
            <a:avLst/>
          </a:prstGeom>
        </p:spPr>
        <p:txBody>
          <a:bodyPr vert="vert270" lIns="91440" tIns="45720" rIns="91440" bIns="45720" rtlCol="0" anchor="ctr"/>
          <a:lstStyle>
            <a:lvl1pPr marL="0" algn="ctr" defTabSz="914400" rtl="0" eaLnBrk="1" latinLnBrk="0" hangingPunct="1">
              <a:defRPr lang="en-US" sz="2000" b="1" kern="1200" smtClean="0">
                <a:solidFill>
                  <a:srgbClr val="606060"/>
                </a:solidFill>
                <a:latin typeface="Arial"/>
                <a:ea typeface="+mn-ea"/>
                <a:cs typeface="Arial"/>
              </a:defRPr>
            </a:lvl1pPr>
          </a:lstStyle>
          <a:p>
            <a:fld id="{B383C57C-80DA-45D5-BFE5-7583B8192761}" type="slidenum">
              <a:rPr lang="en-US" smtClean="0"/>
              <a:pPr/>
              <a:t>‹#›</a:t>
            </a:fld>
            <a:endParaRPr lang="en-US" dirty="0"/>
          </a:p>
        </p:txBody>
      </p:sp>
      <p:grpSp>
        <p:nvGrpSpPr>
          <p:cNvPr id="20" name="Group 278"/>
          <p:cNvGrpSpPr/>
          <p:nvPr/>
        </p:nvGrpSpPr>
        <p:grpSpPr>
          <a:xfrm rot="16200000">
            <a:off x="8042195" y="5656432"/>
            <a:ext cx="1622261" cy="326882"/>
            <a:chOff x="122238" y="4995863"/>
            <a:chExt cx="7208837" cy="1452562"/>
          </a:xfrm>
          <a:solidFill>
            <a:schemeClr val="tx1">
              <a:lumMod val="50000"/>
              <a:lumOff val="50000"/>
            </a:schemeClr>
          </a:solidFill>
        </p:grpSpPr>
        <p:sp>
          <p:nvSpPr>
            <p:cNvPr id="21" name="Freeform 25"/>
            <p:cNvSpPr>
              <a:spLocks noEditPoints="1"/>
            </p:cNvSpPr>
            <p:nvPr/>
          </p:nvSpPr>
          <p:spPr bwMode="auto">
            <a:xfrm>
              <a:off x="122238" y="5021263"/>
              <a:ext cx="787400" cy="1065212"/>
            </a:xfrm>
            <a:custGeom>
              <a:avLst/>
              <a:gdLst/>
              <a:ahLst/>
              <a:cxnLst>
                <a:cxn ang="0">
                  <a:pos x="469" y="204"/>
                </a:cxn>
                <a:cxn ang="0">
                  <a:pos x="577" y="221"/>
                </a:cxn>
                <a:cxn ang="0">
                  <a:pos x="648" y="258"/>
                </a:cxn>
                <a:cxn ang="0">
                  <a:pos x="681" y="301"/>
                </a:cxn>
                <a:cxn ang="0">
                  <a:pos x="696" y="376"/>
                </a:cxn>
                <a:cxn ang="0">
                  <a:pos x="688" y="429"/>
                </a:cxn>
                <a:cxn ang="0">
                  <a:pos x="650" y="486"/>
                </a:cxn>
                <a:cxn ang="0">
                  <a:pos x="583" y="526"/>
                </a:cxn>
                <a:cxn ang="0">
                  <a:pos x="486" y="544"/>
                </a:cxn>
                <a:cxn ang="0">
                  <a:pos x="0" y="1342"/>
                </a:cxn>
                <a:cxn ang="0">
                  <a:pos x="579" y="1338"/>
                </a:cxn>
                <a:cxn ang="0">
                  <a:pos x="670" y="1323"/>
                </a:cxn>
                <a:cxn ang="0">
                  <a:pos x="756" y="1298"/>
                </a:cxn>
                <a:cxn ang="0">
                  <a:pos x="833" y="1260"/>
                </a:cxn>
                <a:cxn ang="0">
                  <a:pos x="899" y="1208"/>
                </a:cxn>
                <a:cxn ang="0">
                  <a:pos x="949" y="1142"/>
                </a:cxn>
                <a:cxn ang="0">
                  <a:pos x="981" y="1059"/>
                </a:cxn>
                <a:cxn ang="0">
                  <a:pos x="992" y="959"/>
                </a:cxn>
                <a:cxn ang="0">
                  <a:pos x="989" y="911"/>
                </a:cxn>
                <a:cxn ang="0">
                  <a:pos x="975" y="852"/>
                </a:cxn>
                <a:cxn ang="0">
                  <a:pos x="953" y="798"/>
                </a:cxn>
                <a:cxn ang="0">
                  <a:pos x="920" y="750"/>
                </a:cxn>
                <a:cxn ang="0">
                  <a:pos x="879" y="709"/>
                </a:cxn>
                <a:cxn ang="0">
                  <a:pos x="831" y="676"/>
                </a:cxn>
                <a:cxn ang="0">
                  <a:pos x="777" y="651"/>
                </a:cxn>
                <a:cxn ang="0">
                  <a:pos x="717" y="636"/>
                </a:cxn>
                <a:cxn ang="0">
                  <a:pos x="727" y="622"/>
                </a:cxn>
                <a:cxn ang="0">
                  <a:pos x="817" y="575"/>
                </a:cxn>
                <a:cxn ang="0">
                  <a:pos x="885" y="506"/>
                </a:cxn>
                <a:cxn ang="0">
                  <a:pos x="925" y="416"/>
                </a:cxn>
                <a:cxn ang="0">
                  <a:pos x="935" y="337"/>
                </a:cxn>
                <a:cxn ang="0">
                  <a:pos x="926" y="252"/>
                </a:cxn>
                <a:cxn ang="0">
                  <a:pos x="900" y="181"/>
                </a:cxn>
                <a:cxn ang="0">
                  <a:pos x="859" y="122"/>
                </a:cxn>
                <a:cxn ang="0">
                  <a:pos x="805" y="76"/>
                </a:cxn>
                <a:cxn ang="0">
                  <a:pos x="743" y="41"/>
                </a:cxn>
                <a:cxn ang="0">
                  <a:pos x="673" y="18"/>
                </a:cxn>
                <a:cxn ang="0">
                  <a:pos x="599" y="4"/>
                </a:cxn>
                <a:cxn ang="0">
                  <a:pos x="0" y="1342"/>
                </a:cxn>
                <a:cxn ang="0">
                  <a:pos x="503" y="751"/>
                </a:cxn>
                <a:cxn ang="0">
                  <a:pos x="620" y="765"/>
                </a:cxn>
                <a:cxn ang="0">
                  <a:pos x="683" y="792"/>
                </a:cxn>
                <a:cxn ang="0">
                  <a:pos x="714" y="818"/>
                </a:cxn>
                <a:cxn ang="0">
                  <a:pos x="736" y="851"/>
                </a:cxn>
                <a:cxn ang="0">
                  <a:pos x="749" y="892"/>
                </a:cxn>
                <a:cxn ang="0">
                  <a:pos x="752" y="956"/>
                </a:cxn>
                <a:cxn ang="0">
                  <a:pos x="742" y="1012"/>
                </a:cxn>
                <a:cxn ang="0">
                  <a:pos x="717" y="1055"/>
                </a:cxn>
                <a:cxn ang="0">
                  <a:pos x="683" y="1087"/>
                </a:cxn>
                <a:cxn ang="0">
                  <a:pos x="630" y="1114"/>
                </a:cxn>
                <a:cxn ang="0">
                  <a:pos x="532" y="1134"/>
                </a:cxn>
                <a:cxn ang="0">
                  <a:pos x="238" y="1137"/>
                </a:cxn>
              </a:cxnLst>
              <a:rect l="0" t="0" r="r" b="b"/>
              <a:pathLst>
                <a:path w="992" h="1342">
                  <a:moveTo>
                    <a:pt x="238" y="204"/>
                  </a:moveTo>
                  <a:lnTo>
                    <a:pt x="436" y="204"/>
                  </a:lnTo>
                  <a:lnTo>
                    <a:pt x="436" y="204"/>
                  </a:lnTo>
                  <a:lnTo>
                    <a:pt x="469" y="204"/>
                  </a:lnTo>
                  <a:lnTo>
                    <a:pt x="499" y="206"/>
                  </a:lnTo>
                  <a:lnTo>
                    <a:pt x="527" y="210"/>
                  </a:lnTo>
                  <a:lnTo>
                    <a:pt x="553" y="214"/>
                  </a:lnTo>
                  <a:lnTo>
                    <a:pt x="577" y="221"/>
                  </a:lnTo>
                  <a:lnTo>
                    <a:pt x="597" y="228"/>
                  </a:lnTo>
                  <a:lnTo>
                    <a:pt x="616" y="237"/>
                  </a:lnTo>
                  <a:lnTo>
                    <a:pt x="634" y="247"/>
                  </a:lnTo>
                  <a:lnTo>
                    <a:pt x="648" y="258"/>
                  </a:lnTo>
                  <a:lnTo>
                    <a:pt x="661" y="271"/>
                  </a:lnTo>
                  <a:lnTo>
                    <a:pt x="667" y="278"/>
                  </a:lnTo>
                  <a:lnTo>
                    <a:pt x="672" y="285"/>
                  </a:lnTo>
                  <a:lnTo>
                    <a:pt x="681" y="301"/>
                  </a:lnTo>
                  <a:lnTo>
                    <a:pt x="688" y="317"/>
                  </a:lnTo>
                  <a:lnTo>
                    <a:pt x="692" y="336"/>
                  </a:lnTo>
                  <a:lnTo>
                    <a:pt x="695" y="355"/>
                  </a:lnTo>
                  <a:lnTo>
                    <a:pt x="696" y="376"/>
                  </a:lnTo>
                  <a:lnTo>
                    <a:pt x="696" y="376"/>
                  </a:lnTo>
                  <a:lnTo>
                    <a:pt x="695" y="395"/>
                  </a:lnTo>
                  <a:lnTo>
                    <a:pt x="692" y="413"/>
                  </a:lnTo>
                  <a:lnTo>
                    <a:pt x="688" y="429"/>
                  </a:lnTo>
                  <a:lnTo>
                    <a:pt x="681" y="446"/>
                  </a:lnTo>
                  <a:lnTo>
                    <a:pt x="672" y="460"/>
                  </a:lnTo>
                  <a:lnTo>
                    <a:pt x="662" y="474"/>
                  </a:lnTo>
                  <a:lnTo>
                    <a:pt x="650" y="486"/>
                  </a:lnTo>
                  <a:lnTo>
                    <a:pt x="636" y="499"/>
                  </a:lnTo>
                  <a:lnTo>
                    <a:pt x="620" y="509"/>
                  </a:lnTo>
                  <a:lnTo>
                    <a:pt x="602" y="518"/>
                  </a:lnTo>
                  <a:lnTo>
                    <a:pt x="583" y="526"/>
                  </a:lnTo>
                  <a:lnTo>
                    <a:pt x="561" y="533"/>
                  </a:lnTo>
                  <a:lnTo>
                    <a:pt x="538" y="538"/>
                  </a:lnTo>
                  <a:lnTo>
                    <a:pt x="513" y="542"/>
                  </a:lnTo>
                  <a:lnTo>
                    <a:pt x="486" y="544"/>
                  </a:lnTo>
                  <a:lnTo>
                    <a:pt x="457" y="545"/>
                  </a:lnTo>
                  <a:lnTo>
                    <a:pt x="238" y="545"/>
                  </a:lnTo>
                  <a:lnTo>
                    <a:pt x="238" y="204"/>
                  </a:lnTo>
                  <a:close/>
                  <a:moveTo>
                    <a:pt x="0" y="1342"/>
                  </a:moveTo>
                  <a:lnTo>
                    <a:pt x="484" y="1342"/>
                  </a:lnTo>
                  <a:lnTo>
                    <a:pt x="484" y="1342"/>
                  </a:lnTo>
                  <a:lnTo>
                    <a:pt x="531" y="1341"/>
                  </a:lnTo>
                  <a:lnTo>
                    <a:pt x="579" y="1338"/>
                  </a:lnTo>
                  <a:lnTo>
                    <a:pt x="602" y="1335"/>
                  </a:lnTo>
                  <a:lnTo>
                    <a:pt x="625" y="1332"/>
                  </a:lnTo>
                  <a:lnTo>
                    <a:pt x="648" y="1328"/>
                  </a:lnTo>
                  <a:lnTo>
                    <a:pt x="670" y="1323"/>
                  </a:lnTo>
                  <a:lnTo>
                    <a:pt x="693" y="1318"/>
                  </a:lnTo>
                  <a:lnTo>
                    <a:pt x="714" y="1312"/>
                  </a:lnTo>
                  <a:lnTo>
                    <a:pt x="736" y="1305"/>
                  </a:lnTo>
                  <a:lnTo>
                    <a:pt x="756" y="1298"/>
                  </a:lnTo>
                  <a:lnTo>
                    <a:pt x="776" y="1290"/>
                  </a:lnTo>
                  <a:lnTo>
                    <a:pt x="796" y="1281"/>
                  </a:lnTo>
                  <a:lnTo>
                    <a:pt x="815" y="1271"/>
                  </a:lnTo>
                  <a:lnTo>
                    <a:pt x="833" y="1260"/>
                  </a:lnTo>
                  <a:lnTo>
                    <a:pt x="851" y="1248"/>
                  </a:lnTo>
                  <a:lnTo>
                    <a:pt x="867" y="1236"/>
                  </a:lnTo>
                  <a:lnTo>
                    <a:pt x="883" y="1223"/>
                  </a:lnTo>
                  <a:lnTo>
                    <a:pt x="899" y="1208"/>
                  </a:lnTo>
                  <a:lnTo>
                    <a:pt x="912" y="1193"/>
                  </a:lnTo>
                  <a:lnTo>
                    <a:pt x="925" y="1177"/>
                  </a:lnTo>
                  <a:lnTo>
                    <a:pt x="937" y="1161"/>
                  </a:lnTo>
                  <a:lnTo>
                    <a:pt x="949" y="1142"/>
                  </a:lnTo>
                  <a:lnTo>
                    <a:pt x="959" y="1123"/>
                  </a:lnTo>
                  <a:lnTo>
                    <a:pt x="967" y="1102"/>
                  </a:lnTo>
                  <a:lnTo>
                    <a:pt x="975" y="1081"/>
                  </a:lnTo>
                  <a:lnTo>
                    <a:pt x="981" y="1059"/>
                  </a:lnTo>
                  <a:lnTo>
                    <a:pt x="985" y="1036"/>
                  </a:lnTo>
                  <a:lnTo>
                    <a:pt x="989" y="1011"/>
                  </a:lnTo>
                  <a:lnTo>
                    <a:pt x="991" y="985"/>
                  </a:lnTo>
                  <a:lnTo>
                    <a:pt x="992" y="959"/>
                  </a:lnTo>
                  <a:lnTo>
                    <a:pt x="992" y="959"/>
                  </a:lnTo>
                  <a:lnTo>
                    <a:pt x="992" y="943"/>
                  </a:lnTo>
                  <a:lnTo>
                    <a:pt x="990" y="927"/>
                  </a:lnTo>
                  <a:lnTo>
                    <a:pt x="989" y="911"/>
                  </a:lnTo>
                  <a:lnTo>
                    <a:pt x="986" y="896"/>
                  </a:lnTo>
                  <a:lnTo>
                    <a:pt x="983" y="881"/>
                  </a:lnTo>
                  <a:lnTo>
                    <a:pt x="980" y="866"/>
                  </a:lnTo>
                  <a:lnTo>
                    <a:pt x="975" y="852"/>
                  </a:lnTo>
                  <a:lnTo>
                    <a:pt x="971" y="838"/>
                  </a:lnTo>
                  <a:lnTo>
                    <a:pt x="965" y="824"/>
                  </a:lnTo>
                  <a:lnTo>
                    <a:pt x="959" y="811"/>
                  </a:lnTo>
                  <a:lnTo>
                    <a:pt x="953" y="798"/>
                  </a:lnTo>
                  <a:lnTo>
                    <a:pt x="944" y="786"/>
                  </a:lnTo>
                  <a:lnTo>
                    <a:pt x="937" y="774"/>
                  </a:lnTo>
                  <a:lnTo>
                    <a:pt x="928" y="761"/>
                  </a:lnTo>
                  <a:lnTo>
                    <a:pt x="920" y="750"/>
                  </a:lnTo>
                  <a:lnTo>
                    <a:pt x="910" y="739"/>
                  </a:lnTo>
                  <a:lnTo>
                    <a:pt x="901" y="729"/>
                  </a:lnTo>
                  <a:lnTo>
                    <a:pt x="890" y="719"/>
                  </a:lnTo>
                  <a:lnTo>
                    <a:pt x="879" y="709"/>
                  </a:lnTo>
                  <a:lnTo>
                    <a:pt x="868" y="700"/>
                  </a:lnTo>
                  <a:lnTo>
                    <a:pt x="856" y="691"/>
                  </a:lnTo>
                  <a:lnTo>
                    <a:pt x="844" y="683"/>
                  </a:lnTo>
                  <a:lnTo>
                    <a:pt x="831" y="676"/>
                  </a:lnTo>
                  <a:lnTo>
                    <a:pt x="818" y="669"/>
                  </a:lnTo>
                  <a:lnTo>
                    <a:pt x="805" y="663"/>
                  </a:lnTo>
                  <a:lnTo>
                    <a:pt x="792" y="656"/>
                  </a:lnTo>
                  <a:lnTo>
                    <a:pt x="777" y="651"/>
                  </a:lnTo>
                  <a:lnTo>
                    <a:pt x="762" y="646"/>
                  </a:lnTo>
                  <a:lnTo>
                    <a:pt x="748" y="642"/>
                  </a:lnTo>
                  <a:lnTo>
                    <a:pt x="733" y="639"/>
                  </a:lnTo>
                  <a:lnTo>
                    <a:pt x="717" y="636"/>
                  </a:lnTo>
                  <a:lnTo>
                    <a:pt x="702" y="634"/>
                  </a:lnTo>
                  <a:lnTo>
                    <a:pt x="702" y="631"/>
                  </a:lnTo>
                  <a:lnTo>
                    <a:pt x="702" y="631"/>
                  </a:lnTo>
                  <a:lnTo>
                    <a:pt x="727" y="622"/>
                  </a:lnTo>
                  <a:lnTo>
                    <a:pt x="752" y="613"/>
                  </a:lnTo>
                  <a:lnTo>
                    <a:pt x="774" y="601"/>
                  </a:lnTo>
                  <a:lnTo>
                    <a:pt x="797" y="588"/>
                  </a:lnTo>
                  <a:lnTo>
                    <a:pt x="817" y="575"/>
                  </a:lnTo>
                  <a:lnTo>
                    <a:pt x="836" y="560"/>
                  </a:lnTo>
                  <a:lnTo>
                    <a:pt x="854" y="542"/>
                  </a:lnTo>
                  <a:lnTo>
                    <a:pt x="870" y="525"/>
                  </a:lnTo>
                  <a:lnTo>
                    <a:pt x="885" y="506"/>
                  </a:lnTo>
                  <a:lnTo>
                    <a:pt x="898" y="485"/>
                  </a:lnTo>
                  <a:lnTo>
                    <a:pt x="909" y="464"/>
                  </a:lnTo>
                  <a:lnTo>
                    <a:pt x="918" y="441"/>
                  </a:lnTo>
                  <a:lnTo>
                    <a:pt x="925" y="416"/>
                  </a:lnTo>
                  <a:lnTo>
                    <a:pt x="931" y="391"/>
                  </a:lnTo>
                  <a:lnTo>
                    <a:pt x="934" y="364"/>
                  </a:lnTo>
                  <a:lnTo>
                    <a:pt x="935" y="337"/>
                  </a:lnTo>
                  <a:lnTo>
                    <a:pt x="935" y="337"/>
                  </a:lnTo>
                  <a:lnTo>
                    <a:pt x="934" y="314"/>
                  </a:lnTo>
                  <a:lnTo>
                    <a:pt x="932" y="293"/>
                  </a:lnTo>
                  <a:lnTo>
                    <a:pt x="930" y="271"/>
                  </a:lnTo>
                  <a:lnTo>
                    <a:pt x="926" y="252"/>
                  </a:lnTo>
                  <a:lnTo>
                    <a:pt x="921" y="233"/>
                  </a:lnTo>
                  <a:lnTo>
                    <a:pt x="915" y="214"/>
                  </a:lnTo>
                  <a:lnTo>
                    <a:pt x="908" y="197"/>
                  </a:lnTo>
                  <a:lnTo>
                    <a:pt x="900" y="181"/>
                  </a:lnTo>
                  <a:lnTo>
                    <a:pt x="890" y="165"/>
                  </a:lnTo>
                  <a:lnTo>
                    <a:pt x="880" y="150"/>
                  </a:lnTo>
                  <a:lnTo>
                    <a:pt x="870" y="136"/>
                  </a:lnTo>
                  <a:lnTo>
                    <a:pt x="859" y="122"/>
                  </a:lnTo>
                  <a:lnTo>
                    <a:pt x="847" y="110"/>
                  </a:lnTo>
                  <a:lnTo>
                    <a:pt x="833" y="97"/>
                  </a:lnTo>
                  <a:lnTo>
                    <a:pt x="819" y="86"/>
                  </a:lnTo>
                  <a:lnTo>
                    <a:pt x="805" y="76"/>
                  </a:lnTo>
                  <a:lnTo>
                    <a:pt x="791" y="67"/>
                  </a:lnTo>
                  <a:lnTo>
                    <a:pt x="775" y="58"/>
                  </a:lnTo>
                  <a:lnTo>
                    <a:pt x="759" y="49"/>
                  </a:lnTo>
                  <a:lnTo>
                    <a:pt x="743" y="41"/>
                  </a:lnTo>
                  <a:lnTo>
                    <a:pt x="726" y="34"/>
                  </a:lnTo>
                  <a:lnTo>
                    <a:pt x="709" y="28"/>
                  </a:lnTo>
                  <a:lnTo>
                    <a:pt x="691" y="22"/>
                  </a:lnTo>
                  <a:lnTo>
                    <a:pt x="673" y="18"/>
                  </a:lnTo>
                  <a:lnTo>
                    <a:pt x="655" y="13"/>
                  </a:lnTo>
                  <a:lnTo>
                    <a:pt x="637" y="10"/>
                  </a:lnTo>
                  <a:lnTo>
                    <a:pt x="618" y="6"/>
                  </a:lnTo>
                  <a:lnTo>
                    <a:pt x="599" y="4"/>
                  </a:lnTo>
                  <a:lnTo>
                    <a:pt x="561" y="1"/>
                  </a:lnTo>
                  <a:lnTo>
                    <a:pt x="524" y="0"/>
                  </a:lnTo>
                  <a:lnTo>
                    <a:pt x="0" y="0"/>
                  </a:lnTo>
                  <a:lnTo>
                    <a:pt x="0" y="1342"/>
                  </a:lnTo>
                  <a:close/>
                  <a:moveTo>
                    <a:pt x="238" y="750"/>
                  </a:moveTo>
                  <a:lnTo>
                    <a:pt x="468" y="750"/>
                  </a:lnTo>
                  <a:lnTo>
                    <a:pt x="468" y="750"/>
                  </a:lnTo>
                  <a:lnTo>
                    <a:pt x="503" y="751"/>
                  </a:lnTo>
                  <a:lnTo>
                    <a:pt x="536" y="752"/>
                  </a:lnTo>
                  <a:lnTo>
                    <a:pt x="566" y="755"/>
                  </a:lnTo>
                  <a:lnTo>
                    <a:pt x="594" y="760"/>
                  </a:lnTo>
                  <a:lnTo>
                    <a:pt x="620" y="765"/>
                  </a:lnTo>
                  <a:lnTo>
                    <a:pt x="643" y="774"/>
                  </a:lnTo>
                  <a:lnTo>
                    <a:pt x="664" y="782"/>
                  </a:lnTo>
                  <a:lnTo>
                    <a:pt x="674" y="787"/>
                  </a:lnTo>
                  <a:lnTo>
                    <a:pt x="683" y="792"/>
                  </a:lnTo>
                  <a:lnTo>
                    <a:pt x="692" y="798"/>
                  </a:lnTo>
                  <a:lnTo>
                    <a:pt x="700" y="804"/>
                  </a:lnTo>
                  <a:lnTo>
                    <a:pt x="707" y="811"/>
                  </a:lnTo>
                  <a:lnTo>
                    <a:pt x="714" y="818"/>
                  </a:lnTo>
                  <a:lnTo>
                    <a:pt x="720" y="825"/>
                  </a:lnTo>
                  <a:lnTo>
                    <a:pt x="725" y="834"/>
                  </a:lnTo>
                  <a:lnTo>
                    <a:pt x="731" y="842"/>
                  </a:lnTo>
                  <a:lnTo>
                    <a:pt x="736" y="851"/>
                  </a:lnTo>
                  <a:lnTo>
                    <a:pt x="740" y="860"/>
                  </a:lnTo>
                  <a:lnTo>
                    <a:pt x="743" y="870"/>
                  </a:lnTo>
                  <a:lnTo>
                    <a:pt x="746" y="880"/>
                  </a:lnTo>
                  <a:lnTo>
                    <a:pt x="749" y="892"/>
                  </a:lnTo>
                  <a:lnTo>
                    <a:pt x="752" y="915"/>
                  </a:lnTo>
                  <a:lnTo>
                    <a:pt x="753" y="940"/>
                  </a:lnTo>
                  <a:lnTo>
                    <a:pt x="753" y="940"/>
                  </a:lnTo>
                  <a:lnTo>
                    <a:pt x="752" y="956"/>
                  </a:lnTo>
                  <a:lnTo>
                    <a:pt x="751" y="971"/>
                  </a:lnTo>
                  <a:lnTo>
                    <a:pt x="749" y="985"/>
                  </a:lnTo>
                  <a:lnTo>
                    <a:pt x="746" y="999"/>
                  </a:lnTo>
                  <a:lnTo>
                    <a:pt x="742" y="1012"/>
                  </a:lnTo>
                  <a:lnTo>
                    <a:pt x="737" y="1024"/>
                  </a:lnTo>
                  <a:lnTo>
                    <a:pt x="731" y="1035"/>
                  </a:lnTo>
                  <a:lnTo>
                    <a:pt x="724" y="1045"/>
                  </a:lnTo>
                  <a:lnTo>
                    <a:pt x="717" y="1055"/>
                  </a:lnTo>
                  <a:lnTo>
                    <a:pt x="709" y="1064"/>
                  </a:lnTo>
                  <a:lnTo>
                    <a:pt x="701" y="1072"/>
                  </a:lnTo>
                  <a:lnTo>
                    <a:pt x="693" y="1080"/>
                  </a:lnTo>
                  <a:lnTo>
                    <a:pt x="683" y="1087"/>
                  </a:lnTo>
                  <a:lnTo>
                    <a:pt x="673" y="1093"/>
                  </a:lnTo>
                  <a:lnTo>
                    <a:pt x="663" y="1099"/>
                  </a:lnTo>
                  <a:lnTo>
                    <a:pt x="652" y="1105"/>
                  </a:lnTo>
                  <a:lnTo>
                    <a:pt x="630" y="1114"/>
                  </a:lnTo>
                  <a:lnTo>
                    <a:pt x="606" y="1121"/>
                  </a:lnTo>
                  <a:lnTo>
                    <a:pt x="582" y="1127"/>
                  </a:lnTo>
                  <a:lnTo>
                    <a:pt x="557" y="1131"/>
                  </a:lnTo>
                  <a:lnTo>
                    <a:pt x="532" y="1134"/>
                  </a:lnTo>
                  <a:lnTo>
                    <a:pt x="507" y="1136"/>
                  </a:lnTo>
                  <a:lnTo>
                    <a:pt x="483" y="1137"/>
                  </a:lnTo>
                  <a:lnTo>
                    <a:pt x="458" y="1137"/>
                  </a:lnTo>
                  <a:lnTo>
                    <a:pt x="238" y="1137"/>
                  </a:lnTo>
                  <a:lnTo>
                    <a:pt x="238" y="750"/>
                  </a:lnTo>
                  <a:close/>
                </a:path>
              </a:pathLst>
            </a:custGeom>
            <a:solidFill>
              <a:srgbClr val="60606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606060"/>
                </a:solidFill>
              </a:endParaRPr>
            </a:p>
          </p:txBody>
        </p:sp>
        <p:sp>
          <p:nvSpPr>
            <p:cNvPr id="22" name="Rectangle 26"/>
            <p:cNvSpPr>
              <a:spLocks noChangeArrowheads="1"/>
            </p:cNvSpPr>
            <p:nvPr/>
          </p:nvSpPr>
          <p:spPr bwMode="auto">
            <a:xfrm>
              <a:off x="1033463" y="4995863"/>
              <a:ext cx="180975" cy="1090612"/>
            </a:xfrm>
            <a:prstGeom prst="rect">
              <a:avLst/>
            </a:prstGeom>
            <a:solidFill>
              <a:srgbClr val="60606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606060"/>
                </a:solidFill>
              </a:endParaRPr>
            </a:p>
          </p:txBody>
        </p:sp>
        <p:sp>
          <p:nvSpPr>
            <p:cNvPr id="23" name="Freeform 27"/>
            <p:cNvSpPr>
              <a:spLocks noEditPoints="1"/>
            </p:cNvSpPr>
            <p:nvPr/>
          </p:nvSpPr>
          <p:spPr bwMode="auto">
            <a:xfrm>
              <a:off x="1335088" y="5346700"/>
              <a:ext cx="785812" cy="758825"/>
            </a:xfrm>
            <a:custGeom>
              <a:avLst/>
              <a:gdLst/>
              <a:ahLst/>
              <a:cxnLst>
                <a:cxn ang="0">
                  <a:pos x="444" y="2"/>
                </a:cxn>
                <a:cxn ang="0">
                  <a:pos x="348" y="19"/>
                </a:cxn>
                <a:cxn ang="0">
                  <a:pos x="259" y="53"/>
                </a:cxn>
                <a:cxn ang="0">
                  <a:pos x="180" y="102"/>
                </a:cxn>
                <a:cxn ang="0">
                  <a:pos x="112" y="164"/>
                </a:cxn>
                <a:cxn ang="0">
                  <a:pos x="59" y="240"/>
                </a:cxn>
                <a:cxn ang="0">
                  <a:pos x="23" y="327"/>
                </a:cxn>
                <a:cxn ang="0">
                  <a:pos x="3" y="425"/>
                </a:cxn>
                <a:cxn ang="0">
                  <a:pos x="1" y="504"/>
                </a:cxn>
                <a:cxn ang="0">
                  <a:pos x="16" y="605"/>
                </a:cxn>
                <a:cxn ang="0">
                  <a:pos x="49" y="694"/>
                </a:cxn>
                <a:cxn ang="0">
                  <a:pos x="98" y="773"/>
                </a:cxn>
                <a:cxn ang="0">
                  <a:pos x="162" y="839"/>
                </a:cxn>
                <a:cxn ang="0">
                  <a:pos x="238" y="892"/>
                </a:cxn>
                <a:cxn ang="0">
                  <a:pos x="324" y="929"/>
                </a:cxn>
                <a:cxn ang="0">
                  <a:pos x="420" y="950"/>
                </a:cxn>
                <a:cxn ang="0">
                  <a:pos x="495" y="955"/>
                </a:cxn>
                <a:cxn ang="0">
                  <a:pos x="596" y="947"/>
                </a:cxn>
                <a:cxn ang="0">
                  <a:pos x="689" y="922"/>
                </a:cxn>
                <a:cxn ang="0">
                  <a:pos x="774" y="880"/>
                </a:cxn>
                <a:cxn ang="0">
                  <a:pos x="846" y="824"/>
                </a:cxn>
                <a:cxn ang="0">
                  <a:pos x="907" y="755"/>
                </a:cxn>
                <a:cxn ang="0">
                  <a:pos x="952" y="673"/>
                </a:cxn>
                <a:cxn ang="0">
                  <a:pos x="980" y="580"/>
                </a:cxn>
                <a:cxn ang="0">
                  <a:pos x="991" y="478"/>
                </a:cxn>
                <a:cxn ang="0">
                  <a:pos x="985" y="399"/>
                </a:cxn>
                <a:cxn ang="0">
                  <a:pos x="961" y="304"/>
                </a:cxn>
                <a:cxn ang="0">
                  <a:pos x="919" y="220"/>
                </a:cxn>
                <a:cxn ang="0">
                  <a:pos x="862" y="148"/>
                </a:cxn>
                <a:cxn ang="0">
                  <a:pos x="793" y="88"/>
                </a:cxn>
                <a:cxn ang="0">
                  <a:pos x="711" y="43"/>
                </a:cxn>
                <a:cxn ang="0">
                  <a:pos x="620" y="13"/>
                </a:cxn>
                <a:cxn ang="0">
                  <a:pos x="521" y="0"/>
                </a:cxn>
                <a:cxn ang="0">
                  <a:pos x="495" y="751"/>
                </a:cxn>
                <a:cxn ang="0">
                  <a:pos x="436" y="745"/>
                </a:cxn>
                <a:cxn ang="0">
                  <a:pos x="383" y="728"/>
                </a:cxn>
                <a:cxn ang="0">
                  <a:pos x="338" y="702"/>
                </a:cxn>
                <a:cxn ang="0">
                  <a:pos x="299" y="668"/>
                </a:cxn>
                <a:cxn ang="0">
                  <a:pos x="268" y="626"/>
                </a:cxn>
                <a:cxn ang="0">
                  <a:pos x="233" y="531"/>
                </a:cxn>
                <a:cxn ang="0">
                  <a:pos x="230" y="451"/>
                </a:cxn>
                <a:cxn ang="0">
                  <a:pos x="256" y="351"/>
                </a:cxn>
                <a:cxn ang="0">
                  <a:pos x="291" y="297"/>
                </a:cxn>
                <a:cxn ang="0">
                  <a:pos x="327" y="262"/>
                </a:cxn>
                <a:cxn ang="0">
                  <a:pos x="371" y="233"/>
                </a:cxn>
                <a:cxn ang="0">
                  <a:pos x="422" y="214"/>
                </a:cxn>
                <a:cxn ang="0">
                  <a:pos x="480" y="205"/>
                </a:cxn>
                <a:cxn ang="0">
                  <a:pos x="526" y="206"/>
                </a:cxn>
                <a:cxn ang="0">
                  <a:pos x="582" y="218"/>
                </a:cxn>
                <a:cxn ang="0">
                  <a:pos x="632" y="239"/>
                </a:cxn>
                <a:cxn ang="0">
                  <a:pos x="674" y="270"/>
                </a:cxn>
                <a:cxn ang="0">
                  <a:pos x="708" y="308"/>
                </a:cxn>
                <a:cxn ang="0">
                  <a:pos x="745" y="375"/>
                </a:cxn>
                <a:cxn ang="0">
                  <a:pos x="763" y="478"/>
                </a:cxn>
                <a:cxn ang="0">
                  <a:pos x="752" y="556"/>
                </a:cxn>
                <a:cxn ang="0">
                  <a:pos x="716" y="637"/>
                </a:cxn>
                <a:cxn ang="0">
                  <a:pos x="683" y="677"/>
                </a:cxn>
                <a:cxn ang="0">
                  <a:pos x="643" y="710"/>
                </a:cxn>
                <a:cxn ang="0">
                  <a:pos x="595" y="733"/>
                </a:cxn>
                <a:cxn ang="0">
                  <a:pos x="541" y="747"/>
                </a:cxn>
                <a:cxn ang="0">
                  <a:pos x="495" y="751"/>
                </a:cxn>
              </a:cxnLst>
              <a:rect l="0" t="0" r="r" b="b"/>
              <a:pathLst>
                <a:path w="991" h="955">
                  <a:moveTo>
                    <a:pt x="495" y="0"/>
                  </a:moveTo>
                  <a:lnTo>
                    <a:pt x="495" y="0"/>
                  </a:lnTo>
                  <a:lnTo>
                    <a:pt x="470" y="0"/>
                  </a:lnTo>
                  <a:lnTo>
                    <a:pt x="444" y="2"/>
                  </a:lnTo>
                  <a:lnTo>
                    <a:pt x="420" y="5"/>
                  </a:lnTo>
                  <a:lnTo>
                    <a:pt x="396" y="8"/>
                  </a:lnTo>
                  <a:lnTo>
                    <a:pt x="371" y="13"/>
                  </a:lnTo>
                  <a:lnTo>
                    <a:pt x="348" y="19"/>
                  </a:lnTo>
                  <a:lnTo>
                    <a:pt x="324" y="26"/>
                  </a:lnTo>
                  <a:lnTo>
                    <a:pt x="302" y="35"/>
                  </a:lnTo>
                  <a:lnTo>
                    <a:pt x="280" y="43"/>
                  </a:lnTo>
                  <a:lnTo>
                    <a:pt x="259" y="53"/>
                  </a:lnTo>
                  <a:lnTo>
                    <a:pt x="238" y="64"/>
                  </a:lnTo>
                  <a:lnTo>
                    <a:pt x="218" y="75"/>
                  </a:lnTo>
                  <a:lnTo>
                    <a:pt x="199" y="88"/>
                  </a:lnTo>
                  <a:lnTo>
                    <a:pt x="180" y="102"/>
                  </a:lnTo>
                  <a:lnTo>
                    <a:pt x="162" y="116"/>
                  </a:lnTo>
                  <a:lnTo>
                    <a:pt x="145" y="131"/>
                  </a:lnTo>
                  <a:lnTo>
                    <a:pt x="129" y="148"/>
                  </a:lnTo>
                  <a:lnTo>
                    <a:pt x="112" y="164"/>
                  </a:lnTo>
                  <a:lnTo>
                    <a:pt x="98" y="182"/>
                  </a:lnTo>
                  <a:lnTo>
                    <a:pt x="85" y="201"/>
                  </a:lnTo>
                  <a:lnTo>
                    <a:pt x="72" y="220"/>
                  </a:lnTo>
                  <a:lnTo>
                    <a:pt x="59" y="240"/>
                  </a:lnTo>
                  <a:lnTo>
                    <a:pt x="49" y="261"/>
                  </a:lnTo>
                  <a:lnTo>
                    <a:pt x="39" y="282"/>
                  </a:lnTo>
                  <a:lnTo>
                    <a:pt x="30" y="304"/>
                  </a:lnTo>
                  <a:lnTo>
                    <a:pt x="23" y="327"/>
                  </a:lnTo>
                  <a:lnTo>
                    <a:pt x="16" y="350"/>
                  </a:lnTo>
                  <a:lnTo>
                    <a:pt x="10" y="375"/>
                  </a:lnTo>
                  <a:lnTo>
                    <a:pt x="6" y="399"/>
                  </a:lnTo>
                  <a:lnTo>
                    <a:pt x="3" y="425"/>
                  </a:lnTo>
                  <a:lnTo>
                    <a:pt x="1" y="451"/>
                  </a:lnTo>
                  <a:lnTo>
                    <a:pt x="0" y="478"/>
                  </a:lnTo>
                  <a:lnTo>
                    <a:pt x="0" y="478"/>
                  </a:lnTo>
                  <a:lnTo>
                    <a:pt x="1" y="504"/>
                  </a:lnTo>
                  <a:lnTo>
                    <a:pt x="3" y="531"/>
                  </a:lnTo>
                  <a:lnTo>
                    <a:pt x="6" y="556"/>
                  </a:lnTo>
                  <a:lnTo>
                    <a:pt x="10" y="580"/>
                  </a:lnTo>
                  <a:lnTo>
                    <a:pt x="16" y="605"/>
                  </a:lnTo>
                  <a:lnTo>
                    <a:pt x="23" y="628"/>
                  </a:lnTo>
                  <a:lnTo>
                    <a:pt x="30" y="651"/>
                  </a:lnTo>
                  <a:lnTo>
                    <a:pt x="39" y="673"/>
                  </a:lnTo>
                  <a:lnTo>
                    <a:pt x="49" y="694"/>
                  </a:lnTo>
                  <a:lnTo>
                    <a:pt x="59" y="716"/>
                  </a:lnTo>
                  <a:lnTo>
                    <a:pt x="72" y="735"/>
                  </a:lnTo>
                  <a:lnTo>
                    <a:pt x="85" y="755"/>
                  </a:lnTo>
                  <a:lnTo>
                    <a:pt x="98" y="773"/>
                  </a:lnTo>
                  <a:lnTo>
                    <a:pt x="112" y="791"/>
                  </a:lnTo>
                  <a:lnTo>
                    <a:pt x="129" y="808"/>
                  </a:lnTo>
                  <a:lnTo>
                    <a:pt x="145" y="824"/>
                  </a:lnTo>
                  <a:lnTo>
                    <a:pt x="162" y="839"/>
                  </a:lnTo>
                  <a:lnTo>
                    <a:pt x="180" y="853"/>
                  </a:lnTo>
                  <a:lnTo>
                    <a:pt x="199" y="868"/>
                  </a:lnTo>
                  <a:lnTo>
                    <a:pt x="218" y="880"/>
                  </a:lnTo>
                  <a:lnTo>
                    <a:pt x="238" y="892"/>
                  </a:lnTo>
                  <a:lnTo>
                    <a:pt x="259" y="902"/>
                  </a:lnTo>
                  <a:lnTo>
                    <a:pt x="280" y="912"/>
                  </a:lnTo>
                  <a:lnTo>
                    <a:pt x="302" y="922"/>
                  </a:lnTo>
                  <a:lnTo>
                    <a:pt x="324" y="929"/>
                  </a:lnTo>
                  <a:lnTo>
                    <a:pt x="348" y="936"/>
                  </a:lnTo>
                  <a:lnTo>
                    <a:pt x="371" y="942"/>
                  </a:lnTo>
                  <a:lnTo>
                    <a:pt x="396" y="947"/>
                  </a:lnTo>
                  <a:lnTo>
                    <a:pt x="420" y="950"/>
                  </a:lnTo>
                  <a:lnTo>
                    <a:pt x="444" y="953"/>
                  </a:lnTo>
                  <a:lnTo>
                    <a:pt x="470" y="955"/>
                  </a:lnTo>
                  <a:lnTo>
                    <a:pt x="495" y="955"/>
                  </a:lnTo>
                  <a:lnTo>
                    <a:pt x="495" y="955"/>
                  </a:lnTo>
                  <a:lnTo>
                    <a:pt x="521" y="955"/>
                  </a:lnTo>
                  <a:lnTo>
                    <a:pt x="546" y="953"/>
                  </a:lnTo>
                  <a:lnTo>
                    <a:pt x="572" y="950"/>
                  </a:lnTo>
                  <a:lnTo>
                    <a:pt x="596" y="947"/>
                  </a:lnTo>
                  <a:lnTo>
                    <a:pt x="620" y="942"/>
                  </a:lnTo>
                  <a:lnTo>
                    <a:pt x="643" y="936"/>
                  </a:lnTo>
                  <a:lnTo>
                    <a:pt x="667" y="929"/>
                  </a:lnTo>
                  <a:lnTo>
                    <a:pt x="689" y="922"/>
                  </a:lnTo>
                  <a:lnTo>
                    <a:pt x="711" y="912"/>
                  </a:lnTo>
                  <a:lnTo>
                    <a:pt x="733" y="902"/>
                  </a:lnTo>
                  <a:lnTo>
                    <a:pt x="753" y="892"/>
                  </a:lnTo>
                  <a:lnTo>
                    <a:pt x="774" y="880"/>
                  </a:lnTo>
                  <a:lnTo>
                    <a:pt x="793" y="868"/>
                  </a:lnTo>
                  <a:lnTo>
                    <a:pt x="811" y="853"/>
                  </a:lnTo>
                  <a:lnTo>
                    <a:pt x="830" y="839"/>
                  </a:lnTo>
                  <a:lnTo>
                    <a:pt x="846" y="824"/>
                  </a:lnTo>
                  <a:lnTo>
                    <a:pt x="862" y="808"/>
                  </a:lnTo>
                  <a:lnTo>
                    <a:pt x="879" y="791"/>
                  </a:lnTo>
                  <a:lnTo>
                    <a:pt x="893" y="773"/>
                  </a:lnTo>
                  <a:lnTo>
                    <a:pt x="907" y="755"/>
                  </a:lnTo>
                  <a:lnTo>
                    <a:pt x="919" y="735"/>
                  </a:lnTo>
                  <a:lnTo>
                    <a:pt x="931" y="716"/>
                  </a:lnTo>
                  <a:lnTo>
                    <a:pt x="942" y="694"/>
                  </a:lnTo>
                  <a:lnTo>
                    <a:pt x="952" y="673"/>
                  </a:lnTo>
                  <a:lnTo>
                    <a:pt x="961" y="651"/>
                  </a:lnTo>
                  <a:lnTo>
                    <a:pt x="968" y="628"/>
                  </a:lnTo>
                  <a:lnTo>
                    <a:pt x="975" y="605"/>
                  </a:lnTo>
                  <a:lnTo>
                    <a:pt x="980" y="580"/>
                  </a:lnTo>
                  <a:lnTo>
                    <a:pt x="985" y="556"/>
                  </a:lnTo>
                  <a:lnTo>
                    <a:pt x="989" y="531"/>
                  </a:lnTo>
                  <a:lnTo>
                    <a:pt x="990" y="504"/>
                  </a:lnTo>
                  <a:lnTo>
                    <a:pt x="991" y="478"/>
                  </a:lnTo>
                  <a:lnTo>
                    <a:pt x="991" y="478"/>
                  </a:lnTo>
                  <a:lnTo>
                    <a:pt x="990" y="451"/>
                  </a:lnTo>
                  <a:lnTo>
                    <a:pt x="989" y="425"/>
                  </a:lnTo>
                  <a:lnTo>
                    <a:pt x="985" y="399"/>
                  </a:lnTo>
                  <a:lnTo>
                    <a:pt x="980" y="375"/>
                  </a:lnTo>
                  <a:lnTo>
                    <a:pt x="975" y="350"/>
                  </a:lnTo>
                  <a:lnTo>
                    <a:pt x="968" y="327"/>
                  </a:lnTo>
                  <a:lnTo>
                    <a:pt x="961" y="304"/>
                  </a:lnTo>
                  <a:lnTo>
                    <a:pt x="952" y="282"/>
                  </a:lnTo>
                  <a:lnTo>
                    <a:pt x="942" y="261"/>
                  </a:lnTo>
                  <a:lnTo>
                    <a:pt x="931" y="240"/>
                  </a:lnTo>
                  <a:lnTo>
                    <a:pt x="919" y="220"/>
                  </a:lnTo>
                  <a:lnTo>
                    <a:pt x="907" y="201"/>
                  </a:lnTo>
                  <a:lnTo>
                    <a:pt x="893" y="182"/>
                  </a:lnTo>
                  <a:lnTo>
                    <a:pt x="879" y="164"/>
                  </a:lnTo>
                  <a:lnTo>
                    <a:pt x="862" y="148"/>
                  </a:lnTo>
                  <a:lnTo>
                    <a:pt x="846" y="131"/>
                  </a:lnTo>
                  <a:lnTo>
                    <a:pt x="830" y="116"/>
                  </a:lnTo>
                  <a:lnTo>
                    <a:pt x="811" y="102"/>
                  </a:lnTo>
                  <a:lnTo>
                    <a:pt x="793" y="88"/>
                  </a:lnTo>
                  <a:lnTo>
                    <a:pt x="774" y="75"/>
                  </a:lnTo>
                  <a:lnTo>
                    <a:pt x="753" y="64"/>
                  </a:lnTo>
                  <a:lnTo>
                    <a:pt x="733" y="53"/>
                  </a:lnTo>
                  <a:lnTo>
                    <a:pt x="711" y="43"/>
                  </a:lnTo>
                  <a:lnTo>
                    <a:pt x="689" y="35"/>
                  </a:lnTo>
                  <a:lnTo>
                    <a:pt x="667" y="26"/>
                  </a:lnTo>
                  <a:lnTo>
                    <a:pt x="643" y="19"/>
                  </a:lnTo>
                  <a:lnTo>
                    <a:pt x="620" y="13"/>
                  </a:lnTo>
                  <a:lnTo>
                    <a:pt x="596" y="8"/>
                  </a:lnTo>
                  <a:lnTo>
                    <a:pt x="572" y="5"/>
                  </a:lnTo>
                  <a:lnTo>
                    <a:pt x="546" y="2"/>
                  </a:lnTo>
                  <a:lnTo>
                    <a:pt x="521" y="0"/>
                  </a:lnTo>
                  <a:lnTo>
                    <a:pt x="495" y="0"/>
                  </a:lnTo>
                  <a:lnTo>
                    <a:pt x="495" y="0"/>
                  </a:lnTo>
                  <a:close/>
                  <a:moveTo>
                    <a:pt x="495" y="751"/>
                  </a:moveTo>
                  <a:lnTo>
                    <a:pt x="495" y="751"/>
                  </a:lnTo>
                  <a:lnTo>
                    <a:pt x="480" y="751"/>
                  </a:lnTo>
                  <a:lnTo>
                    <a:pt x="465" y="749"/>
                  </a:lnTo>
                  <a:lnTo>
                    <a:pt x="451" y="747"/>
                  </a:lnTo>
                  <a:lnTo>
                    <a:pt x="436" y="745"/>
                  </a:lnTo>
                  <a:lnTo>
                    <a:pt x="422" y="741"/>
                  </a:lnTo>
                  <a:lnTo>
                    <a:pt x="409" y="738"/>
                  </a:lnTo>
                  <a:lnTo>
                    <a:pt x="396" y="733"/>
                  </a:lnTo>
                  <a:lnTo>
                    <a:pt x="383" y="728"/>
                  </a:lnTo>
                  <a:lnTo>
                    <a:pt x="371" y="723"/>
                  </a:lnTo>
                  <a:lnTo>
                    <a:pt x="360" y="716"/>
                  </a:lnTo>
                  <a:lnTo>
                    <a:pt x="348" y="710"/>
                  </a:lnTo>
                  <a:lnTo>
                    <a:pt x="338" y="702"/>
                  </a:lnTo>
                  <a:lnTo>
                    <a:pt x="327" y="694"/>
                  </a:lnTo>
                  <a:lnTo>
                    <a:pt x="317" y="685"/>
                  </a:lnTo>
                  <a:lnTo>
                    <a:pt x="308" y="677"/>
                  </a:lnTo>
                  <a:lnTo>
                    <a:pt x="299" y="668"/>
                  </a:lnTo>
                  <a:lnTo>
                    <a:pt x="291" y="658"/>
                  </a:lnTo>
                  <a:lnTo>
                    <a:pt x="282" y="648"/>
                  </a:lnTo>
                  <a:lnTo>
                    <a:pt x="275" y="637"/>
                  </a:lnTo>
                  <a:lnTo>
                    <a:pt x="268" y="626"/>
                  </a:lnTo>
                  <a:lnTo>
                    <a:pt x="256" y="604"/>
                  </a:lnTo>
                  <a:lnTo>
                    <a:pt x="246" y="580"/>
                  </a:lnTo>
                  <a:lnTo>
                    <a:pt x="239" y="556"/>
                  </a:lnTo>
                  <a:lnTo>
                    <a:pt x="233" y="531"/>
                  </a:lnTo>
                  <a:lnTo>
                    <a:pt x="230" y="504"/>
                  </a:lnTo>
                  <a:lnTo>
                    <a:pt x="227" y="478"/>
                  </a:lnTo>
                  <a:lnTo>
                    <a:pt x="227" y="478"/>
                  </a:lnTo>
                  <a:lnTo>
                    <a:pt x="230" y="451"/>
                  </a:lnTo>
                  <a:lnTo>
                    <a:pt x="233" y="425"/>
                  </a:lnTo>
                  <a:lnTo>
                    <a:pt x="239" y="399"/>
                  </a:lnTo>
                  <a:lnTo>
                    <a:pt x="246" y="375"/>
                  </a:lnTo>
                  <a:lnTo>
                    <a:pt x="256" y="351"/>
                  </a:lnTo>
                  <a:lnTo>
                    <a:pt x="268" y="329"/>
                  </a:lnTo>
                  <a:lnTo>
                    <a:pt x="275" y="318"/>
                  </a:lnTo>
                  <a:lnTo>
                    <a:pt x="282" y="308"/>
                  </a:lnTo>
                  <a:lnTo>
                    <a:pt x="291" y="297"/>
                  </a:lnTo>
                  <a:lnTo>
                    <a:pt x="299" y="288"/>
                  </a:lnTo>
                  <a:lnTo>
                    <a:pt x="308" y="279"/>
                  </a:lnTo>
                  <a:lnTo>
                    <a:pt x="317" y="270"/>
                  </a:lnTo>
                  <a:lnTo>
                    <a:pt x="327" y="262"/>
                  </a:lnTo>
                  <a:lnTo>
                    <a:pt x="338" y="254"/>
                  </a:lnTo>
                  <a:lnTo>
                    <a:pt x="348" y="246"/>
                  </a:lnTo>
                  <a:lnTo>
                    <a:pt x="360" y="239"/>
                  </a:lnTo>
                  <a:lnTo>
                    <a:pt x="371" y="233"/>
                  </a:lnTo>
                  <a:lnTo>
                    <a:pt x="383" y="227"/>
                  </a:lnTo>
                  <a:lnTo>
                    <a:pt x="396" y="222"/>
                  </a:lnTo>
                  <a:lnTo>
                    <a:pt x="409" y="218"/>
                  </a:lnTo>
                  <a:lnTo>
                    <a:pt x="422" y="214"/>
                  </a:lnTo>
                  <a:lnTo>
                    <a:pt x="436" y="211"/>
                  </a:lnTo>
                  <a:lnTo>
                    <a:pt x="451" y="208"/>
                  </a:lnTo>
                  <a:lnTo>
                    <a:pt x="465" y="206"/>
                  </a:lnTo>
                  <a:lnTo>
                    <a:pt x="480" y="205"/>
                  </a:lnTo>
                  <a:lnTo>
                    <a:pt x="495" y="205"/>
                  </a:lnTo>
                  <a:lnTo>
                    <a:pt x="495" y="205"/>
                  </a:lnTo>
                  <a:lnTo>
                    <a:pt x="511" y="205"/>
                  </a:lnTo>
                  <a:lnTo>
                    <a:pt x="526" y="206"/>
                  </a:lnTo>
                  <a:lnTo>
                    <a:pt x="541" y="208"/>
                  </a:lnTo>
                  <a:lnTo>
                    <a:pt x="555" y="211"/>
                  </a:lnTo>
                  <a:lnTo>
                    <a:pt x="569" y="214"/>
                  </a:lnTo>
                  <a:lnTo>
                    <a:pt x="582" y="218"/>
                  </a:lnTo>
                  <a:lnTo>
                    <a:pt x="595" y="222"/>
                  </a:lnTo>
                  <a:lnTo>
                    <a:pt x="608" y="227"/>
                  </a:lnTo>
                  <a:lnTo>
                    <a:pt x="620" y="233"/>
                  </a:lnTo>
                  <a:lnTo>
                    <a:pt x="632" y="239"/>
                  </a:lnTo>
                  <a:lnTo>
                    <a:pt x="643" y="246"/>
                  </a:lnTo>
                  <a:lnTo>
                    <a:pt x="653" y="254"/>
                  </a:lnTo>
                  <a:lnTo>
                    <a:pt x="664" y="262"/>
                  </a:lnTo>
                  <a:lnTo>
                    <a:pt x="674" y="270"/>
                  </a:lnTo>
                  <a:lnTo>
                    <a:pt x="683" y="279"/>
                  </a:lnTo>
                  <a:lnTo>
                    <a:pt x="692" y="288"/>
                  </a:lnTo>
                  <a:lnTo>
                    <a:pt x="700" y="297"/>
                  </a:lnTo>
                  <a:lnTo>
                    <a:pt x="708" y="308"/>
                  </a:lnTo>
                  <a:lnTo>
                    <a:pt x="716" y="318"/>
                  </a:lnTo>
                  <a:lnTo>
                    <a:pt x="723" y="329"/>
                  </a:lnTo>
                  <a:lnTo>
                    <a:pt x="735" y="351"/>
                  </a:lnTo>
                  <a:lnTo>
                    <a:pt x="745" y="375"/>
                  </a:lnTo>
                  <a:lnTo>
                    <a:pt x="752" y="399"/>
                  </a:lnTo>
                  <a:lnTo>
                    <a:pt x="758" y="425"/>
                  </a:lnTo>
                  <a:lnTo>
                    <a:pt x="761" y="451"/>
                  </a:lnTo>
                  <a:lnTo>
                    <a:pt x="763" y="478"/>
                  </a:lnTo>
                  <a:lnTo>
                    <a:pt x="763" y="478"/>
                  </a:lnTo>
                  <a:lnTo>
                    <a:pt x="761" y="504"/>
                  </a:lnTo>
                  <a:lnTo>
                    <a:pt x="758" y="531"/>
                  </a:lnTo>
                  <a:lnTo>
                    <a:pt x="752" y="556"/>
                  </a:lnTo>
                  <a:lnTo>
                    <a:pt x="745" y="580"/>
                  </a:lnTo>
                  <a:lnTo>
                    <a:pt x="735" y="604"/>
                  </a:lnTo>
                  <a:lnTo>
                    <a:pt x="723" y="626"/>
                  </a:lnTo>
                  <a:lnTo>
                    <a:pt x="716" y="637"/>
                  </a:lnTo>
                  <a:lnTo>
                    <a:pt x="708" y="648"/>
                  </a:lnTo>
                  <a:lnTo>
                    <a:pt x="700" y="658"/>
                  </a:lnTo>
                  <a:lnTo>
                    <a:pt x="692" y="668"/>
                  </a:lnTo>
                  <a:lnTo>
                    <a:pt x="683" y="677"/>
                  </a:lnTo>
                  <a:lnTo>
                    <a:pt x="674" y="685"/>
                  </a:lnTo>
                  <a:lnTo>
                    <a:pt x="664" y="694"/>
                  </a:lnTo>
                  <a:lnTo>
                    <a:pt x="653" y="702"/>
                  </a:lnTo>
                  <a:lnTo>
                    <a:pt x="643" y="710"/>
                  </a:lnTo>
                  <a:lnTo>
                    <a:pt x="632" y="716"/>
                  </a:lnTo>
                  <a:lnTo>
                    <a:pt x="620" y="723"/>
                  </a:lnTo>
                  <a:lnTo>
                    <a:pt x="608" y="728"/>
                  </a:lnTo>
                  <a:lnTo>
                    <a:pt x="595" y="733"/>
                  </a:lnTo>
                  <a:lnTo>
                    <a:pt x="582" y="738"/>
                  </a:lnTo>
                  <a:lnTo>
                    <a:pt x="569" y="741"/>
                  </a:lnTo>
                  <a:lnTo>
                    <a:pt x="555" y="745"/>
                  </a:lnTo>
                  <a:lnTo>
                    <a:pt x="541" y="747"/>
                  </a:lnTo>
                  <a:lnTo>
                    <a:pt x="526" y="749"/>
                  </a:lnTo>
                  <a:lnTo>
                    <a:pt x="511" y="751"/>
                  </a:lnTo>
                  <a:lnTo>
                    <a:pt x="495" y="751"/>
                  </a:lnTo>
                  <a:lnTo>
                    <a:pt x="495" y="751"/>
                  </a:lnTo>
                  <a:close/>
                </a:path>
              </a:pathLst>
            </a:custGeom>
            <a:solidFill>
              <a:srgbClr val="60606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606060"/>
                </a:solidFill>
              </a:endParaRPr>
            </a:p>
          </p:txBody>
        </p:sp>
        <p:sp>
          <p:nvSpPr>
            <p:cNvPr id="24" name="Freeform 28"/>
            <p:cNvSpPr>
              <a:spLocks noEditPoints="1"/>
            </p:cNvSpPr>
            <p:nvPr/>
          </p:nvSpPr>
          <p:spPr bwMode="auto">
            <a:xfrm>
              <a:off x="2203450" y="5346700"/>
              <a:ext cx="785812" cy="758825"/>
            </a:xfrm>
            <a:custGeom>
              <a:avLst/>
              <a:gdLst/>
              <a:ahLst/>
              <a:cxnLst>
                <a:cxn ang="0">
                  <a:pos x="445" y="2"/>
                </a:cxn>
                <a:cxn ang="0">
                  <a:pos x="348" y="19"/>
                </a:cxn>
                <a:cxn ang="0">
                  <a:pos x="259" y="53"/>
                </a:cxn>
                <a:cxn ang="0">
                  <a:pos x="180" y="102"/>
                </a:cxn>
                <a:cxn ang="0">
                  <a:pos x="114" y="164"/>
                </a:cxn>
                <a:cxn ang="0">
                  <a:pos x="60" y="240"/>
                </a:cxn>
                <a:cxn ang="0">
                  <a:pos x="23" y="327"/>
                </a:cxn>
                <a:cxn ang="0">
                  <a:pos x="4" y="425"/>
                </a:cxn>
                <a:cxn ang="0">
                  <a:pos x="2" y="504"/>
                </a:cxn>
                <a:cxn ang="0">
                  <a:pos x="16" y="605"/>
                </a:cxn>
                <a:cxn ang="0">
                  <a:pos x="49" y="694"/>
                </a:cxn>
                <a:cxn ang="0">
                  <a:pos x="98" y="773"/>
                </a:cxn>
                <a:cxn ang="0">
                  <a:pos x="162" y="839"/>
                </a:cxn>
                <a:cxn ang="0">
                  <a:pos x="239" y="892"/>
                </a:cxn>
                <a:cxn ang="0">
                  <a:pos x="326" y="929"/>
                </a:cxn>
                <a:cxn ang="0">
                  <a:pos x="420" y="950"/>
                </a:cxn>
                <a:cxn ang="0">
                  <a:pos x="496" y="955"/>
                </a:cxn>
                <a:cxn ang="0">
                  <a:pos x="597" y="947"/>
                </a:cxn>
                <a:cxn ang="0">
                  <a:pos x="689" y="922"/>
                </a:cxn>
                <a:cxn ang="0">
                  <a:pos x="774" y="880"/>
                </a:cxn>
                <a:cxn ang="0">
                  <a:pos x="847" y="824"/>
                </a:cxn>
                <a:cxn ang="0">
                  <a:pos x="907" y="755"/>
                </a:cxn>
                <a:cxn ang="0">
                  <a:pos x="952" y="673"/>
                </a:cxn>
                <a:cxn ang="0">
                  <a:pos x="981" y="580"/>
                </a:cxn>
                <a:cxn ang="0">
                  <a:pos x="991" y="478"/>
                </a:cxn>
                <a:cxn ang="0">
                  <a:pos x="986" y="399"/>
                </a:cxn>
                <a:cxn ang="0">
                  <a:pos x="961" y="304"/>
                </a:cxn>
                <a:cxn ang="0">
                  <a:pos x="919" y="220"/>
                </a:cxn>
                <a:cxn ang="0">
                  <a:pos x="863" y="148"/>
                </a:cxn>
                <a:cxn ang="0">
                  <a:pos x="793" y="88"/>
                </a:cxn>
                <a:cxn ang="0">
                  <a:pos x="712" y="43"/>
                </a:cxn>
                <a:cxn ang="0">
                  <a:pos x="620" y="13"/>
                </a:cxn>
                <a:cxn ang="0">
                  <a:pos x="522" y="0"/>
                </a:cxn>
                <a:cxn ang="0">
                  <a:pos x="496" y="751"/>
                </a:cxn>
                <a:cxn ang="0">
                  <a:pos x="437" y="745"/>
                </a:cxn>
                <a:cxn ang="0">
                  <a:pos x="384" y="728"/>
                </a:cxn>
                <a:cxn ang="0">
                  <a:pos x="338" y="702"/>
                </a:cxn>
                <a:cxn ang="0">
                  <a:pos x="300" y="668"/>
                </a:cxn>
                <a:cxn ang="0">
                  <a:pos x="269" y="626"/>
                </a:cxn>
                <a:cxn ang="0">
                  <a:pos x="233" y="531"/>
                </a:cxn>
                <a:cxn ang="0">
                  <a:pos x="230" y="451"/>
                </a:cxn>
                <a:cxn ang="0">
                  <a:pos x="257" y="351"/>
                </a:cxn>
                <a:cxn ang="0">
                  <a:pos x="291" y="297"/>
                </a:cxn>
                <a:cxn ang="0">
                  <a:pos x="328" y="262"/>
                </a:cxn>
                <a:cxn ang="0">
                  <a:pos x="371" y="233"/>
                </a:cxn>
                <a:cxn ang="0">
                  <a:pos x="422" y="214"/>
                </a:cxn>
                <a:cxn ang="0">
                  <a:pos x="480" y="205"/>
                </a:cxn>
                <a:cxn ang="0">
                  <a:pos x="526" y="206"/>
                </a:cxn>
                <a:cxn ang="0">
                  <a:pos x="582" y="218"/>
                </a:cxn>
                <a:cxn ang="0">
                  <a:pos x="632" y="239"/>
                </a:cxn>
                <a:cxn ang="0">
                  <a:pos x="674" y="270"/>
                </a:cxn>
                <a:cxn ang="0">
                  <a:pos x="709" y="308"/>
                </a:cxn>
                <a:cxn ang="0">
                  <a:pos x="745" y="375"/>
                </a:cxn>
                <a:cxn ang="0">
                  <a:pos x="764" y="478"/>
                </a:cxn>
                <a:cxn ang="0">
                  <a:pos x="753" y="556"/>
                </a:cxn>
                <a:cxn ang="0">
                  <a:pos x="716" y="637"/>
                </a:cxn>
                <a:cxn ang="0">
                  <a:pos x="683" y="677"/>
                </a:cxn>
                <a:cxn ang="0">
                  <a:pos x="643" y="710"/>
                </a:cxn>
                <a:cxn ang="0">
                  <a:pos x="595" y="733"/>
                </a:cxn>
                <a:cxn ang="0">
                  <a:pos x="542" y="747"/>
                </a:cxn>
                <a:cxn ang="0">
                  <a:pos x="496" y="751"/>
                </a:cxn>
              </a:cxnLst>
              <a:rect l="0" t="0" r="r" b="b"/>
              <a:pathLst>
                <a:path w="991" h="955">
                  <a:moveTo>
                    <a:pt x="496" y="0"/>
                  </a:moveTo>
                  <a:lnTo>
                    <a:pt x="496" y="0"/>
                  </a:lnTo>
                  <a:lnTo>
                    <a:pt x="470" y="0"/>
                  </a:lnTo>
                  <a:lnTo>
                    <a:pt x="445" y="2"/>
                  </a:lnTo>
                  <a:lnTo>
                    <a:pt x="420" y="5"/>
                  </a:lnTo>
                  <a:lnTo>
                    <a:pt x="396" y="8"/>
                  </a:lnTo>
                  <a:lnTo>
                    <a:pt x="371" y="13"/>
                  </a:lnTo>
                  <a:lnTo>
                    <a:pt x="348" y="19"/>
                  </a:lnTo>
                  <a:lnTo>
                    <a:pt x="326" y="26"/>
                  </a:lnTo>
                  <a:lnTo>
                    <a:pt x="302" y="35"/>
                  </a:lnTo>
                  <a:lnTo>
                    <a:pt x="281" y="43"/>
                  </a:lnTo>
                  <a:lnTo>
                    <a:pt x="259" y="53"/>
                  </a:lnTo>
                  <a:lnTo>
                    <a:pt x="239" y="64"/>
                  </a:lnTo>
                  <a:lnTo>
                    <a:pt x="219" y="75"/>
                  </a:lnTo>
                  <a:lnTo>
                    <a:pt x="199" y="88"/>
                  </a:lnTo>
                  <a:lnTo>
                    <a:pt x="180" y="102"/>
                  </a:lnTo>
                  <a:lnTo>
                    <a:pt x="162" y="116"/>
                  </a:lnTo>
                  <a:lnTo>
                    <a:pt x="145" y="131"/>
                  </a:lnTo>
                  <a:lnTo>
                    <a:pt x="129" y="148"/>
                  </a:lnTo>
                  <a:lnTo>
                    <a:pt x="114" y="164"/>
                  </a:lnTo>
                  <a:lnTo>
                    <a:pt x="98" y="182"/>
                  </a:lnTo>
                  <a:lnTo>
                    <a:pt x="85" y="201"/>
                  </a:lnTo>
                  <a:lnTo>
                    <a:pt x="72" y="220"/>
                  </a:lnTo>
                  <a:lnTo>
                    <a:pt x="60" y="240"/>
                  </a:lnTo>
                  <a:lnTo>
                    <a:pt x="49" y="261"/>
                  </a:lnTo>
                  <a:lnTo>
                    <a:pt x="39" y="282"/>
                  </a:lnTo>
                  <a:lnTo>
                    <a:pt x="30" y="304"/>
                  </a:lnTo>
                  <a:lnTo>
                    <a:pt x="23" y="327"/>
                  </a:lnTo>
                  <a:lnTo>
                    <a:pt x="16" y="350"/>
                  </a:lnTo>
                  <a:lnTo>
                    <a:pt x="11" y="375"/>
                  </a:lnTo>
                  <a:lnTo>
                    <a:pt x="7" y="399"/>
                  </a:lnTo>
                  <a:lnTo>
                    <a:pt x="4" y="425"/>
                  </a:lnTo>
                  <a:lnTo>
                    <a:pt x="2" y="451"/>
                  </a:lnTo>
                  <a:lnTo>
                    <a:pt x="0" y="478"/>
                  </a:lnTo>
                  <a:lnTo>
                    <a:pt x="0" y="478"/>
                  </a:lnTo>
                  <a:lnTo>
                    <a:pt x="2" y="504"/>
                  </a:lnTo>
                  <a:lnTo>
                    <a:pt x="4" y="531"/>
                  </a:lnTo>
                  <a:lnTo>
                    <a:pt x="7" y="556"/>
                  </a:lnTo>
                  <a:lnTo>
                    <a:pt x="11" y="580"/>
                  </a:lnTo>
                  <a:lnTo>
                    <a:pt x="16" y="605"/>
                  </a:lnTo>
                  <a:lnTo>
                    <a:pt x="23" y="628"/>
                  </a:lnTo>
                  <a:lnTo>
                    <a:pt x="30" y="651"/>
                  </a:lnTo>
                  <a:lnTo>
                    <a:pt x="39" y="673"/>
                  </a:lnTo>
                  <a:lnTo>
                    <a:pt x="49" y="694"/>
                  </a:lnTo>
                  <a:lnTo>
                    <a:pt x="60" y="716"/>
                  </a:lnTo>
                  <a:lnTo>
                    <a:pt x="72" y="735"/>
                  </a:lnTo>
                  <a:lnTo>
                    <a:pt x="85" y="755"/>
                  </a:lnTo>
                  <a:lnTo>
                    <a:pt x="98" y="773"/>
                  </a:lnTo>
                  <a:lnTo>
                    <a:pt x="114" y="791"/>
                  </a:lnTo>
                  <a:lnTo>
                    <a:pt x="129" y="808"/>
                  </a:lnTo>
                  <a:lnTo>
                    <a:pt x="145" y="824"/>
                  </a:lnTo>
                  <a:lnTo>
                    <a:pt x="162" y="839"/>
                  </a:lnTo>
                  <a:lnTo>
                    <a:pt x="180" y="853"/>
                  </a:lnTo>
                  <a:lnTo>
                    <a:pt x="199" y="868"/>
                  </a:lnTo>
                  <a:lnTo>
                    <a:pt x="219" y="880"/>
                  </a:lnTo>
                  <a:lnTo>
                    <a:pt x="239" y="892"/>
                  </a:lnTo>
                  <a:lnTo>
                    <a:pt x="259" y="902"/>
                  </a:lnTo>
                  <a:lnTo>
                    <a:pt x="281" y="912"/>
                  </a:lnTo>
                  <a:lnTo>
                    <a:pt x="302" y="922"/>
                  </a:lnTo>
                  <a:lnTo>
                    <a:pt x="326" y="929"/>
                  </a:lnTo>
                  <a:lnTo>
                    <a:pt x="348" y="936"/>
                  </a:lnTo>
                  <a:lnTo>
                    <a:pt x="371" y="942"/>
                  </a:lnTo>
                  <a:lnTo>
                    <a:pt x="396" y="947"/>
                  </a:lnTo>
                  <a:lnTo>
                    <a:pt x="420" y="950"/>
                  </a:lnTo>
                  <a:lnTo>
                    <a:pt x="445" y="953"/>
                  </a:lnTo>
                  <a:lnTo>
                    <a:pt x="470" y="955"/>
                  </a:lnTo>
                  <a:lnTo>
                    <a:pt x="496" y="955"/>
                  </a:lnTo>
                  <a:lnTo>
                    <a:pt x="496" y="955"/>
                  </a:lnTo>
                  <a:lnTo>
                    <a:pt x="522" y="955"/>
                  </a:lnTo>
                  <a:lnTo>
                    <a:pt x="547" y="953"/>
                  </a:lnTo>
                  <a:lnTo>
                    <a:pt x="572" y="950"/>
                  </a:lnTo>
                  <a:lnTo>
                    <a:pt x="597" y="947"/>
                  </a:lnTo>
                  <a:lnTo>
                    <a:pt x="620" y="942"/>
                  </a:lnTo>
                  <a:lnTo>
                    <a:pt x="643" y="936"/>
                  </a:lnTo>
                  <a:lnTo>
                    <a:pt x="667" y="929"/>
                  </a:lnTo>
                  <a:lnTo>
                    <a:pt x="689" y="922"/>
                  </a:lnTo>
                  <a:lnTo>
                    <a:pt x="712" y="912"/>
                  </a:lnTo>
                  <a:lnTo>
                    <a:pt x="733" y="902"/>
                  </a:lnTo>
                  <a:lnTo>
                    <a:pt x="753" y="892"/>
                  </a:lnTo>
                  <a:lnTo>
                    <a:pt x="774" y="880"/>
                  </a:lnTo>
                  <a:lnTo>
                    <a:pt x="793" y="868"/>
                  </a:lnTo>
                  <a:lnTo>
                    <a:pt x="811" y="853"/>
                  </a:lnTo>
                  <a:lnTo>
                    <a:pt x="830" y="839"/>
                  </a:lnTo>
                  <a:lnTo>
                    <a:pt x="847" y="824"/>
                  </a:lnTo>
                  <a:lnTo>
                    <a:pt x="863" y="808"/>
                  </a:lnTo>
                  <a:lnTo>
                    <a:pt x="879" y="791"/>
                  </a:lnTo>
                  <a:lnTo>
                    <a:pt x="893" y="773"/>
                  </a:lnTo>
                  <a:lnTo>
                    <a:pt x="907" y="755"/>
                  </a:lnTo>
                  <a:lnTo>
                    <a:pt x="919" y="735"/>
                  </a:lnTo>
                  <a:lnTo>
                    <a:pt x="932" y="716"/>
                  </a:lnTo>
                  <a:lnTo>
                    <a:pt x="943" y="694"/>
                  </a:lnTo>
                  <a:lnTo>
                    <a:pt x="952" y="673"/>
                  </a:lnTo>
                  <a:lnTo>
                    <a:pt x="961" y="651"/>
                  </a:lnTo>
                  <a:lnTo>
                    <a:pt x="969" y="628"/>
                  </a:lnTo>
                  <a:lnTo>
                    <a:pt x="976" y="605"/>
                  </a:lnTo>
                  <a:lnTo>
                    <a:pt x="981" y="580"/>
                  </a:lnTo>
                  <a:lnTo>
                    <a:pt x="986" y="556"/>
                  </a:lnTo>
                  <a:lnTo>
                    <a:pt x="989" y="531"/>
                  </a:lnTo>
                  <a:lnTo>
                    <a:pt x="991" y="504"/>
                  </a:lnTo>
                  <a:lnTo>
                    <a:pt x="991" y="478"/>
                  </a:lnTo>
                  <a:lnTo>
                    <a:pt x="991" y="478"/>
                  </a:lnTo>
                  <a:lnTo>
                    <a:pt x="991" y="451"/>
                  </a:lnTo>
                  <a:lnTo>
                    <a:pt x="989" y="425"/>
                  </a:lnTo>
                  <a:lnTo>
                    <a:pt x="986" y="399"/>
                  </a:lnTo>
                  <a:lnTo>
                    <a:pt x="981" y="375"/>
                  </a:lnTo>
                  <a:lnTo>
                    <a:pt x="976" y="350"/>
                  </a:lnTo>
                  <a:lnTo>
                    <a:pt x="969" y="327"/>
                  </a:lnTo>
                  <a:lnTo>
                    <a:pt x="961" y="304"/>
                  </a:lnTo>
                  <a:lnTo>
                    <a:pt x="952" y="282"/>
                  </a:lnTo>
                  <a:lnTo>
                    <a:pt x="943" y="261"/>
                  </a:lnTo>
                  <a:lnTo>
                    <a:pt x="932" y="240"/>
                  </a:lnTo>
                  <a:lnTo>
                    <a:pt x="919" y="220"/>
                  </a:lnTo>
                  <a:lnTo>
                    <a:pt x="907" y="201"/>
                  </a:lnTo>
                  <a:lnTo>
                    <a:pt x="893" y="182"/>
                  </a:lnTo>
                  <a:lnTo>
                    <a:pt x="879" y="164"/>
                  </a:lnTo>
                  <a:lnTo>
                    <a:pt x="863" y="148"/>
                  </a:lnTo>
                  <a:lnTo>
                    <a:pt x="847" y="131"/>
                  </a:lnTo>
                  <a:lnTo>
                    <a:pt x="830" y="116"/>
                  </a:lnTo>
                  <a:lnTo>
                    <a:pt x="811" y="102"/>
                  </a:lnTo>
                  <a:lnTo>
                    <a:pt x="793" y="88"/>
                  </a:lnTo>
                  <a:lnTo>
                    <a:pt x="774" y="75"/>
                  </a:lnTo>
                  <a:lnTo>
                    <a:pt x="753" y="64"/>
                  </a:lnTo>
                  <a:lnTo>
                    <a:pt x="733" y="53"/>
                  </a:lnTo>
                  <a:lnTo>
                    <a:pt x="712" y="43"/>
                  </a:lnTo>
                  <a:lnTo>
                    <a:pt x="689" y="35"/>
                  </a:lnTo>
                  <a:lnTo>
                    <a:pt x="667" y="26"/>
                  </a:lnTo>
                  <a:lnTo>
                    <a:pt x="643" y="19"/>
                  </a:lnTo>
                  <a:lnTo>
                    <a:pt x="620" y="13"/>
                  </a:lnTo>
                  <a:lnTo>
                    <a:pt x="597" y="8"/>
                  </a:lnTo>
                  <a:lnTo>
                    <a:pt x="572" y="5"/>
                  </a:lnTo>
                  <a:lnTo>
                    <a:pt x="547" y="2"/>
                  </a:lnTo>
                  <a:lnTo>
                    <a:pt x="522" y="0"/>
                  </a:lnTo>
                  <a:lnTo>
                    <a:pt x="496" y="0"/>
                  </a:lnTo>
                  <a:lnTo>
                    <a:pt x="496" y="0"/>
                  </a:lnTo>
                  <a:close/>
                  <a:moveTo>
                    <a:pt x="496" y="751"/>
                  </a:moveTo>
                  <a:lnTo>
                    <a:pt x="496" y="751"/>
                  </a:lnTo>
                  <a:lnTo>
                    <a:pt x="480" y="751"/>
                  </a:lnTo>
                  <a:lnTo>
                    <a:pt x="465" y="749"/>
                  </a:lnTo>
                  <a:lnTo>
                    <a:pt x="451" y="747"/>
                  </a:lnTo>
                  <a:lnTo>
                    <a:pt x="437" y="745"/>
                  </a:lnTo>
                  <a:lnTo>
                    <a:pt x="422" y="741"/>
                  </a:lnTo>
                  <a:lnTo>
                    <a:pt x="409" y="738"/>
                  </a:lnTo>
                  <a:lnTo>
                    <a:pt x="396" y="733"/>
                  </a:lnTo>
                  <a:lnTo>
                    <a:pt x="384" y="728"/>
                  </a:lnTo>
                  <a:lnTo>
                    <a:pt x="371" y="723"/>
                  </a:lnTo>
                  <a:lnTo>
                    <a:pt x="360" y="716"/>
                  </a:lnTo>
                  <a:lnTo>
                    <a:pt x="349" y="710"/>
                  </a:lnTo>
                  <a:lnTo>
                    <a:pt x="338" y="702"/>
                  </a:lnTo>
                  <a:lnTo>
                    <a:pt x="328" y="694"/>
                  </a:lnTo>
                  <a:lnTo>
                    <a:pt x="317" y="685"/>
                  </a:lnTo>
                  <a:lnTo>
                    <a:pt x="308" y="677"/>
                  </a:lnTo>
                  <a:lnTo>
                    <a:pt x="300" y="668"/>
                  </a:lnTo>
                  <a:lnTo>
                    <a:pt x="291" y="658"/>
                  </a:lnTo>
                  <a:lnTo>
                    <a:pt x="284" y="648"/>
                  </a:lnTo>
                  <a:lnTo>
                    <a:pt x="276" y="637"/>
                  </a:lnTo>
                  <a:lnTo>
                    <a:pt x="269" y="626"/>
                  </a:lnTo>
                  <a:lnTo>
                    <a:pt x="257" y="604"/>
                  </a:lnTo>
                  <a:lnTo>
                    <a:pt x="247" y="580"/>
                  </a:lnTo>
                  <a:lnTo>
                    <a:pt x="239" y="556"/>
                  </a:lnTo>
                  <a:lnTo>
                    <a:pt x="233" y="531"/>
                  </a:lnTo>
                  <a:lnTo>
                    <a:pt x="230" y="504"/>
                  </a:lnTo>
                  <a:lnTo>
                    <a:pt x="229" y="478"/>
                  </a:lnTo>
                  <a:lnTo>
                    <a:pt x="229" y="478"/>
                  </a:lnTo>
                  <a:lnTo>
                    <a:pt x="230" y="451"/>
                  </a:lnTo>
                  <a:lnTo>
                    <a:pt x="233" y="425"/>
                  </a:lnTo>
                  <a:lnTo>
                    <a:pt x="239" y="399"/>
                  </a:lnTo>
                  <a:lnTo>
                    <a:pt x="247" y="375"/>
                  </a:lnTo>
                  <a:lnTo>
                    <a:pt x="257" y="351"/>
                  </a:lnTo>
                  <a:lnTo>
                    <a:pt x="269" y="329"/>
                  </a:lnTo>
                  <a:lnTo>
                    <a:pt x="276" y="318"/>
                  </a:lnTo>
                  <a:lnTo>
                    <a:pt x="284" y="308"/>
                  </a:lnTo>
                  <a:lnTo>
                    <a:pt x="291" y="297"/>
                  </a:lnTo>
                  <a:lnTo>
                    <a:pt x="300" y="288"/>
                  </a:lnTo>
                  <a:lnTo>
                    <a:pt x="308" y="279"/>
                  </a:lnTo>
                  <a:lnTo>
                    <a:pt x="317" y="270"/>
                  </a:lnTo>
                  <a:lnTo>
                    <a:pt x="328" y="262"/>
                  </a:lnTo>
                  <a:lnTo>
                    <a:pt x="338" y="254"/>
                  </a:lnTo>
                  <a:lnTo>
                    <a:pt x="349" y="246"/>
                  </a:lnTo>
                  <a:lnTo>
                    <a:pt x="360" y="239"/>
                  </a:lnTo>
                  <a:lnTo>
                    <a:pt x="371" y="233"/>
                  </a:lnTo>
                  <a:lnTo>
                    <a:pt x="384" y="227"/>
                  </a:lnTo>
                  <a:lnTo>
                    <a:pt x="396" y="222"/>
                  </a:lnTo>
                  <a:lnTo>
                    <a:pt x="409" y="218"/>
                  </a:lnTo>
                  <a:lnTo>
                    <a:pt x="422" y="214"/>
                  </a:lnTo>
                  <a:lnTo>
                    <a:pt x="437" y="211"/>
                  </a:lnTo>
                  <a:lnTo>
                    <a:pt x="451" y="208"/>
                  </a:lnTo>
                  <a:lnTo>
                    <a:pt x="465" y="206"/>
                  </a:lnTo>
                  <a:lnTo>
                    <a:pt x="480" y="205"/>
                  </a:lnTo>
                  <a:lnTo>
                    <a:pt x="496" y="205"/>
                  </a:lnTo>
                  <a:lnTo>
                    <a:pt x="496" y="205"/>
                  </a:lnTo>
                  <a:lnTo>
                    <a:pt x="512" y="205"/>
                  </a:lnTo>
                  <a:lnTo>
                    <a:pt x="526" y="206"/>
                  </a:lnTo>
                  <a:lnTo>
                    <a:pt x="542" y="208"/>
                  </a:lnTo>
                  <a:lnTo>
                    <a:pt x="556" y="211"/>
                  </a:lnTo>
                  <a:lnTo>
                    <a:pt x="569" y="214"/>
                  </a:lnTo>
                  <a:lnTo>
                    <a:pt x="582" y="218"/>
                  </a:lnTo>
                  <a:lnTo>
                    <a:pt x="595" y="222"/>
                  </a:lnTo>
                  <a:lnTo>
                    <a:pt x="608" y="227"/>
                  </a:lnTo>
                  <a:lnTo>
                    <a:pt x="620" y="233"/>
                  </a:lnTo>
                  <a:lnTo>
                    <a:pt x="632" y="239"/>
                  </a:lnTo>
                  <a:lnTo>
                    <a:pt x="643" y="246"/>
                  </a:lnTo>
                  <a:lnTo>
                    <a:pt x="654" y="254"/>
                  </a:lnTo>
                  <a:lnTo>
                    <a:pt x="665" y="262"/>
                  </a:lnTo>
                  <a:lnTo>
                    <a:pt x="674" y="270"/>
                  </a:lnTo>
                  <a:lnTo>
                    <a:pt x="683" y="279"/>
                  </a:lnTo>
                  <a:lnTo>
                    <a:pt x="692" y="288"/>
                  </a:lnTo>
                  <a:lnTo>
                    <a:pt x="700" y="297"/>
                  </a:lnTo>
                  <a:lnTo>
                    <a:pt x="709" y="308"/>
                  </a:lnTo>
                  <a:lnTo>
                    <a:pt x="716" y="318"/>
                  </a:lnTo>
                  <a:lnTo>
                    <a:pt x="723" y="329"/>
                  </a:lnTo>
                  <a:lnTo>
                    <a:pt x="735" y="351"/>
                  </a:lnTo>
                  <a:lnTo>
                    <a:pt x="745" y="375"/>
                  </a:lnTo>
                  <a:lnTo>
                    <a:pt x="753" y="399"/>
                  </a:lnTo>
                  <a:lnTo>
                    <a:pt x="759" y="425"/>
                  </a:lnTo>
                  <a:lnTo>
                    <a:pt x="763" y="451"/>
                  </a:lnTo>
                  <a:lnTo>
                    <a:pt x="764" y="478"/>
                  </a:lnTo>
                  <a:lnTo>
                    <a:pt x="764" y="478"/>
                  </a:lnTo>
                  <a:lnTo>
                    <a:pt x="763" y="504"/>
                  </a:lnTo>
                  <a:lnTo>
                    <a:pt x="759" y="531"/>
                  </a:lnTo>
                  <a:lnTo>
                    <a:pt x="753" y="556"/>
                  </a:lnTo>
                  <a:lnTo>
                    <a:pt x="745" y="580"/>
                  </a:lnTo>
                  <a:lnTo>
                    <a:pt x="735" y="604"/>
                  </a:lnTo>
                  <a:lnTo>
                    <a:pt x="723" y="626"/>
                  </a:lnTo>
                  <a:lnTo>
                    <a:pt x="716" y="637"/>
                  </a:lnTo>
                  <a:lnTo>
                    <a:pt x="709" y="648"/>
                  </a:lnTo>
                  <a:lnTo>
                    <a:pt x="700" y="658"/>
                  </a:lnTo>
                  <a:lnTo>
                    <a:pt x="692" y="668"/>
                  </a:lnTo>
                  <a:lnTo>
                    <a:pt x="683" y="677"/>
                  </a:lnTo>
                  <a:lnTo>
                    <a:pt x="674" y="685"/>
                  </a:lnTo>
                  <a:lnTo>
                    <a:pt x="665" y="694"/>
                  </a:lnTo>
                  <a:lnTo>
                    <a:pt x="654" y="702"/>
                  </a:lnTo>
                  <a:lnTo>
                    <a:pt x="643" y="710"/>
                  </a:lnTo>
                  <a:lnTo>
                    <a:pt x="632" y="716"/>
                  </a:lnTo>
                  <a:lnTo>
                    <a:pt x="620" y="723"/>
                  </a:lnTo>
                  <a:lnTo>
                    <a:pt x="608" y="728"/>
                  </a:lnTo>
                  <a:lnTo>
                    <a:pt x="595" y="733"/>
                  </a:lnTo>
                  <a:lnTo>
                    <a:pt x="582" y="738"/>
                  </a:lnTo>
                  <a:lnTo>
                    <a:pt x="569" y="741"/>
                  </a:lnTo>
                  <a:lnTo>
                    <a:pt x="556" y="745"/>
                  </a:lnTo>
                  <a:lnTo>
                    <a:pt x="542" y="747"/>
                  </a:lnTo>
                  <a:lnTo>
                    <a:pt x="526" y="749"/>
                  </a:lnTo>
                  <a:lnTo>
                    <a:pt x="512" y="751"/>
                  </a:lnTo>
                  <a:lnTo>
                    <a:pt x="496" y="751"/>
                  </a:lnTo>
                  <a:lnTo>
                    <a:pt x="496" y="751"/>
                  </a:lnTo>
                  <a:close/>
                </a:path>
              </a:pathLst>
            </a:custGeom>
            <a:solidFill>
              <a:srgbClr val="60606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606060"/>
                </a:solidFill>
              </a:endParaRPr>
            </a:p>
          </p:txBody>
        </p:sp>
        <p:sp>
          <p:nvSpPr>
            <p:cNvPr id="25" name="Freeform 29"/>
            <p:cNvSpPr>
              <a:spLocks/>
            </p:cNvSpPr>
            <p:nvPr/>
          </p:nvSpPr>
          <p:spPr bwMode="auto">
            <a:xfrm>
              <a:off x="3100388" y="5346700"/>
              <a:ext cx="1120775" cy="739775"/>
            </a:xfrm>
            <a:custGeom>
              <a:avLst/>
              <a:gdLst/>
              <a:ahLst/>
              <a:cxnLst>
                <a:cxn ang="0">
                  <a:pos x="216" y="165"/>
                </a:cxn>
                <a:cxn ang="0">
                  <a:pos x="229" y="149"/>
                </a:cxn>
                <a:cxn ang="0">
                  <a:pos x="259" y="103"/>
                </a:cxn>
                <a:cxn ang="0">
                  <a:pos x="301" y="62"/>
                </a:cxn>
                <a:cxn ang="0">
                  <a:pos x="355" y="30"/>
                </a:cxn>
                <a:cxn ang="0">
                  <a:pos x="420" y="8"/>
                </a:cxn>
                <a:cxn ang="0">
                  <a:pos x="500" y="0"/>
                </a:cxn>
                <a:cxn ang="0">
                  <a:pos x="550" y="2"/>
                </a:cxn>
                <a:cxn ang="0">
                  <a:pos x="618" y="16"/>
                </a:cxn>
                <a:cxn ang="0">
                  <a:pos x="677" y="42"/>
                </a:cxn>
                <a:cxn ang="0">
                  <a:pos x="725" y="79"/>
                </a:cxn>
                <a:cxn ang="0">
                  <a:pos x="764" y="128"/>
                </a:cxn>
                <a:cxn ang="0">
                  <a:pos x="784" y="169"/>
                </a:cxn>
                <a:cxn ang="0">
                  <a:pos x="825" y="110"/>
                </a:cxn>
                <a:cxn ang="0">
                  <a:pos x="872" y="64"/>
                </a:cxn>
                <a:cxn ang="0">
                  <a:pos x="927" y="31"/>
                </a:cxn>
                <a:cxn ang="0">
                  <a:pos x="989" y="10"/>
                </a:cxn>
                <a:cxn ang="0">
                  <a:pos x="1059" y="0"/>
                </a:cxn>
                <a:cxn ang="0">
                  <a:pos x="1106" y="0"/>
                </a:cxn>
                <a:cxn ang="0">
                  <a:pos x="1168" y="7"/>
                </a:cxn>
                <a:cxn ang="0">
                  <a:pos x="1221" y="23"/>
                </a:cxn>
                <a:cxn ang="0">
                  <a:pos x="1268" y="47"/>
                </a:cxn>
                <a:cxn ang="0">
                  <a:pos x="1307" y="76"/>
                </a:cxn>
                <a:cxn ang="0">
                  <a:pos x="1339" y="113"/>
                </a:cxn>
                <a:cxn ang="0">
                  <a:pos x="1365" y="156"/>
                </a:cxn>
                <a:cxn ang="0">
                  <a:pos x="1385" y="203"/>
                </a:cxn>
                <a:cxn ang="0">
                  <a:pos x="1399" y="256"/>
                </a:cxn>
                <a:cxn ang="0">
                  <a:pos x="1408" y="311"/>
                </a:cxn>
                <a:cxn ang="0">
                  <a:pos x="1413" y="933"/>
                </a:cxn>
                <a:cxn ang="0">
                  <a:pos x="1184" y="417"/>
                </a:cxn>
                <a:cxn ang="0">
                  <a:pos x="1180" y="355"/>
                </a:cxn>
                <a:cxn ang="0">
                  <a:pos x="1167" y="299"/>
                </a:cxn>
                <a:cxn ang="0">
                  <a:pos x="1140" y="255"/>
                </a:cxn>
                <a:cxn ang="0">
                  <a:pos x="1107" y="226"/>
                </a:cxn>
                <a:cxn ang="0">
                  <a:pos x="1081" y="215"/>
                </a:cxn>
                <a:cxn ang="0">
                  <a:pos x="1051" y="207"/>
                </a:cxn>
                <a:cxn ang="0">
                  <a:pos x="1015" y="205"/>
                </a:cxn>
                <a:cxn ang="0">
                  <a:pos x="977" y="208"/>
                </a:cxn>
                <a:cxn ang="0">
                  <a:pos x="945" y="216"/>
                </a:cxn>
                <a:cxn ang="0">
                  <a:pos x="915" y="230"/>
                </a:cxn>
                <a:cxn ang="0">
                  <a:pos x="891" y="248"/>
                </a:cxn>
                <a:cxn ang="0">
                  <a:pos x="853" y="295"/>
                </a:cxn>
                <a:cxn ang="0">
                  <a:pos x="831" y="353"/>
                </a:cxn>
                <a:cxn ang="0">
                  <a:pos x="821" y="417"/>
                </a:cxn>
                <a:cxn ang="0">
                  <a:pos x="592" y="933"/>
                </a:cxn>
                <a:cxn ang="0">
                  <a:pos x="591" y="370"/>
                </a:cxn>
                <a:cxn ang="0">
                  <a:pos x="583" y="315"/>
                </a:cxn>
                <a:cxn ang="0">
                  <a:pos x="565" y="269"/>
                </a:cxn>
                <a:cxn ang="0">
                  <a:pos x="534" y="234"/>
                </a:cxn>
                <a:cxn ang="0">
                  <a:pos x="491" y="212"/>
                </a:cxn>
                <a:cxn ang="0">
                  <a:pos x="436" y="205"/>
                </a:cxn>
                <a:cxn ang="0">
                  <a:pos x="410" y="206"/>
                </a:cxn>
                <a:cxn ang="0">
                  <a:pos x="373" y="212"/>
                </a:cxn>
                <a:cxn ang="0">
                  <a:pos x="341" y="224"/>
                </a:cxn>
                <a:cxn ang="0">
                  <a:pos x="313" y="239"/>
                </a:cxn>
                <a:cxn ang="0">
                  <a:pos x="290" y="260"/>
                </a:cxn>
                <a:cxn ang="0">
                  <a:pos x="254" y="310"/>
                </a:cxn>
                <a:cxn ang="0">
                  <a:pos x="235" y="370"/>
                </a:cxn>
                <a:cxn ang="0">
                  <a:pos x="228" y="436"/>
                </a:cxn>
                <a:cxn ang="0">
                  <a:pos x="0" y="22"/>
                </a:cxn>
              </a:cxnLst>
              <a:rect l="0" t="0" r="r" b="b"/>
              <a:pathLst>
                <a:path w="1413" h="933">
                  <a:moveTo>
                    <a:pt x="0" y="22"/>
                  </a:moveTo>
                  <a:lnTo>
                    <a:pt x="216" y="22"/>
                  </a:lnTo>
                  <a:lnTo>
                    <a:pt x="216" y="165"/>
                  </a:lnTo>
                  <a:lnTo>
                    <a:pt x="220" y="165"/>
                  </a:lnTo>
                  <a:lnTo>
                    <a:pt x="220" y="165"/>
                  </a:lnTo>
                  <a:lnTo>
                    <a:pt x="229" y="149"/>
                  </a:lnTo>
                  <a:lnTo>
                    <a:pt x="238" y="133"/>
                  </a:lnTo>
                  <a:lnTo>
                    <a:pt x="248" y="118"/>
                  </a:lnTo>
                  <a:lnTo>
                    <a:pt x="259" y="103"/>
                  </a:lnTo>
                  <a:lnTo>
                    <a:pt x="272" y="89"/>
                  </a:lnTo>
                  <a:lnTo>
                    <a:pt x="286" y="75"/>
                  </a:lnTo>
                  <a:lnTo>
                    <a:pt x="301" y="62"/>
                  </a:lnTo>
                  <a:lnTo>
                    <a:pt x="318" y="50"/>
                  </a:lnTo>
                  <a:lnTo>
                    <a:pt x="336" y="40"/>
                  </a:lnTo>
                  <a:lnTo>
                    <a:pt x="355" y="30"/>
                  </a:lnTo>
                  <a:lnTo>
                    <a:pt x="375" y="20"/>
                  </a:lnTo>
                  <a:lnTo>
                    <a:pt x="398" y="13"/>
                  </a:lnTo>
                  <a:lnTo>
                    <a:pt x="420" y="8"/>
                  </a:lnTo>
                  <a:lnTo>
                    <a:pt x="446" y="3"/>
                  </a:lnTo>
                  <a:lnTo>
                    <a:pt x="472" y="1"/>
                  </a:lnTo>
                  <a:lnTo>
                    <a:pt x="500" y="0"/>
                  </a:lnTo>
                  <a:lnTo>
                    <a:pt x="500" y="0"/>
                  </a:lnTo>
                  <a:lnTo>
                    <a:pt x="525" y="0"/>
                  </a:lnTo>
                  <a:lnTo>
                    <a:pt x="550" y="2"/>
                  </a:lnTo>
                  <a:lnTo>
                    <a:pt x="574" y="5"/>
                  </a:lnTo>
                  <a:lnTo>
                    <a:pt x="596" y="10"/>
                  </a:lnTo>
                  <a:lnTo>
                    <a:pt x="618" y="16"/>
                  </a:lnTo>
                  <a:lnTo>
                    <a:pt x="638" y="23"/>
                  </a:lnTo>
                  <a:lnTo>
                    <a:pt x="659" y="32"/>
                  </a:lnTo>
                  <a:lnTo>
                    <a:pt x="677" y="42"/>
                  </a:lnTo>
                  <a:lnTo>
                    <a:pt x="694" y="53"/>
                  </a:lnTo>
                  <a:lnTo>
                    <a:pt x="711" y="65"/>
                  </a:lnTo>
                  <a:lnTo>
                    <a:pt x="725" y="79"/>
                  </a:lnTo>
                  <a:lnTo>
                    <a:pt x="739" y="95"/>
                  </a:lnTo>
                  <a:lnTo>
                    <a:pt x="752" y="111"/>
                  </a:lnTo>
                  <a:lnTo>
                    <a:pt x="764" y="128"/>
                  </a:lnTo>
                  <a:lnTo>
                    <a:pt x="775" y="148"/>
                  </a:lnTo>
                  <a:lnTo>
                    <a:pt x="784" y="169"/>
                  </a:lnTo>
                  <a:lnTo>
                    <a:pt x="784" y="169"/>
                  </a:lnTo>
                  <a:lnTo>
                    <a:pt x="797" y="148"/>
                  </a:lnTo>
                  <a:lnTo>
                    <a:pt x="810" y="128"/>
                  </a:lnTo>
                  <a:lnTo>
                    <a:pt x="825" y="110"/>
                  </a:lnTo>
                  <a:lnTo>
                    <a:pt x="840" y="94"/>
                  </a:lnTo>
                  <a:lnTo>
                    <a:pt x="855" y="78"/>
                  </a:lnTo>
                  <a:lnTo>
                    <a:pt x="872" y="64"/>
                  </a:lnTo>
                  <a:lnTo>
                    <a:pt x="890" y="52"/>
                  </a:lnTo>
                  <a:lnTo>
                    <a:pt x="907" y="41"/>
                  </a:lnTo>
                  <a:lnTo>
                    <a:pt x="927" y="31"/>
                  </a:lnTo>
                  <a:lnTo>
                    <a:pt x="946" y="22"/>
                  </a:lnTo>
                  <a:lnTo>
                    <a:pt x="967" y="15"/>
                  </a:lnTo>
                  <a:lnTo>
                    <a:pt x="989" y="10"/>
                  </a:lnTo>
                  <a:lnTo>
                    <a:pt x="1011" y="5"/>
                  </a:lnTo>
                  <a:lnTo>
                    <a:pt x="1035" y="2"/>
                  </a:lnTo>
                  <a:lnTo>
                    <a:pt x="1059" y="0"/>
                  </a:lnTo>
                  <a:lnTo>
                    <a:pt x="1083" y="0"/>
                  </a:lnTo>
                  <a:lnTo>
                    <a:pt x="1083" y="0"/>
                  </a:lnTo>
                  <a:lnTo>
                    <a:pt x="1106" y="0"/>
                  </a:lnTo>
                  <a:lnTo>
                    <a:pt x="1127" y="2"/>
                  </a:lnTo>
                  <a:lnTo>
                    <a:pt x="1148" y="4"/>
                  </a:lnTo>
                  <a:lnTo>
                    <a:pt x="1168" y="7"/>
                  </a:lnTo>
                  <a:lnTo>
                    <a:pt x="1186" y="12"/>
                  </a:lnTo>
                  <a:lnTo>
                    <a:pt x="1205" y="17"/>
                  </a:lnTo>
                  <a:lnTo>
                    <a:pt x="1221" y="23"/>
                  </a:lnTo>
                  <a:lnTo>
                    <a:pt x="1237" y="31"/>
                  </a:lnTo>
                  <a:lnTo>
                    <a:pt x="1253" y="38"/>
                  </a:lnTo>
                  <a:lnTo>
                    <a:pt x="1268" y="47"/>
                  </a:lnTo>
                  <a:lnTo>
                    <a:pt x="1281" y="56"/>
                  </a:lnTo>
                  <a:lnTo>
                    <a:pt x="1294" y="66"/>
                  </a:lnTo>
                  <a:lnTo>
                    <a:pt x="1307" y="76"/>
                  </a:lnTo>
                  <a:lnTo>
                    <a:pt x="1318" y="89"/>
                  </a:lnTo>
                  <a:lnTo>
                    <a:pt x="1329" y="101"/>
                  </a:lnTo>
                  <a:lnTo>
                    <a:pt x="1339" y="113"/>
                  </a:lnTo>
                  <a:lnTo>
                    <a:pt x="1348" y="127"/>
                  </a:lnTo>
                  <a:lnTo>
                    <a:pt x="1357" y="141"/>
                  </a:lnTo>
                  <a:lnTo>
                    <a:pt x="1365" y="156"/>
                  </a:lnTo>
                  <a:lnTo>
                    <a:pt x="1373" y="171"/>
                  </a:lnTo>
                  <a:lnTo>
                    <a:pt x="1379" y="186"/>
                  </a:lnTo>
                  <a:lnTo>
                    <a:pt x="1385" y="203"/>
                  </a:lnTo>
                  <a:lnTo>
                    <a:pt x="1390" y="220"/>
                  </a:lnTo>
                  <a:lnTo>
                    <a:pt x="1395" y="237"/>
                  </a:lnTo>
                  <a:lnTo>
                    <a:pt x="1399" y="256"/>
                  </a:lnTo>
                  <a:lnTo>
                    <a:pt x="1402" y="273"/>
                  </a:lnTo>
                  <a:lnTo>
                    <a:pt x="1405" y="292"/>
                  </a:lnTo>
                  <a:lnTo>
                    <a:pt x="1408" y="311"/>
                  </a:lnTo>
                  <a:lnTo>
                    <a:pt x="1411" y="350"/>
                  </a:lnTo>
                  <a:lnTo>
                    <a:pt x="1413" y="390"/>
                  </a:lnTo>
                  <a:lnTo>
                    <a:pt x="1413" y="933"/>
                  </a:lnTo>
                  <a:lnTo>
                    <a:pt x="1184" y="933"/>
                  </a:lnTo>
                  <a:lnTo>
                    <a:pt x="1184" y="417"/>
                  </a:lnTo>
                  <a:lnTo>
                    <a:pt x="1184" y="417"/>
                  </a:lnTo>
                  <a:lnTo>
                    <a:pt x="1184" y="396"/>
                  </a:lnTo>
                  <a:lnTo>
                    <a:pt x="1182" y="376"/>
                  </a:lnTo>
                  <a:lnTo>
                    <a:pt x="1180" y="355"/>
                  </a:lnTo>
                  <a:lnTo>
                    <a:pt x="1177" y="336"/>
                  </a:lnTo>
                  <a:lnTo>
                    <a:pt x="1172" y="318"/>
                  </a:lnTo>
                  <a:lnTo>
                    <a:pt x="1167" y="299"/>
                  </a:lnTo>
                  <a:lnTo>
                    <a:pt x="1159" y="283"/>
                  </a:lnTo>
                  <a:lnTo>
                    <a:pt x="1151" y="268"/>
                  </a:lnTo>
                  <a:lnTo>
                    <a:pt x="1140" y="255"/>
                  </a:lnTo>
                  <a:lnTo>
                    <a:pt x="1128" y="241"/>
                  </a:lnTo>
                  <a:lnTo>
                    <a:pt x="1114" y="231"/>
                  </a:lnTo>
                  <a:lnTo>
                    <a:pt x="1107" y="226"/>
                  </a:lnTo>
                  <a:lnTo>
                    <a:pt x="1099" y="222"/>
                  </a:lnTo>
                  <a:lnTo>
                    <a:pt x="1091" y="218"/>
                  </a:lnTo>
                  <a:lnTo>
                    <a:pt x="1081" y="215"/>
                  </a:lnTo>
                  <a:lnTo>
                    <a:pt x="1071" y="212"/>
                  </a:lnTo>
                  <a:lnTo>
                    <a:pt x="1061" y="209"/>
                  </a:lnTo>
                  <a:lnTo>
                    <a:pt x="1051" y="207"/>
                  </a:lnTo>
                  <a:lnTo>
                    <a:pt x="1040" y="206"/>
                  </a:lnTo>
                  <a:lnTo>
                    <a:pt x="1015" y="205"/>
                  </a:lnTo>
                  <a:lnTo>
                    <a:pt x="1015" y="205"/>
                  </a:lnTo>
                  <a:lnTo>
                    <a:pt x="1003" y="205"/>
                  </a:lnTo>
                  <a:lnTo>
                    <a:pt x="990" y="206"/>
                  </a:lnTo>
                  <a:lnTo>
                    <a:pt x="977" y="208"/>
                  </a:lnTo>
                  <a:lnTo>
                    <a:pt x="966" y="210"/>
                  </a:lnTo>
                  <a:lnTo>
                    <a:pt x="955" y="213"/>
                  </a:lnTo>
                  <a:lnTo>
                    <a:pt x="945" y="216"/>
                  </a:lnTo>
                  <a:lnTo>
                    <a:pt x="935" y="220"/>
                  </a:lnTo>
                  <a:lnTo>
                    <a:pt x="924" y="225"/>
                  </a:lnTo>
                  <a:lnTo>
                    <a:pt x="915" y="230"/>
                  </a:lnTo>
                  <a:lnTo>
                    <a:pt x="907" y="235"/>
                  </a:lnTo>
                  <a:lnTo>
                    <a:pt x="899" y="241"/>
                  </a:lnTo>
                  <a:lnTo>
                    <a:pt x="891" y="248"/>
                  </a:lnTo>
                  <a:lnTo>
                    <a:pt x="877" y="263"/>
                  </a:lnTo>
                  <a:lnTo>
                    <a:pt x="864" y="278"/>
                  </a:lnTo>
                  <a:lnTo>
                    <a:pt x="853" y="295"/>
                  </a:lnTo>
                  <a:lnTo>
                    <a:pt x="844" y="314"/>
                  </a:lnTo>
                  <a:lnTo>
                    <a:pt x="837" y="333"/>
                  </a:lnTo>
                  <a:lnTo>
                    <a:pt x="831" y="353"/>
                  </a:lnTo>
                  <a:lnTo>
                    <a:pt x="826" y="375"/>
                  </a:lnTo>
                  <a:lnTo>
                    <a:pt x="823" y="396"/>
                  </a:lnTo>
                  <a:lnTo>
                    <a:pt x="821" y="417"/>
                  </a:lnTo>
                  <a:lnTo>
                    <a:pt x="820" y="440"/>
                  </a:lnTo>
                  <a:lnTo>
                    <a:pt x="820" y="933"/>
                  </a:lnTo>
                  <a:lnTo>
                    <a:pt x="592" y="933"/>
                  </a:lnTo>
                  <a:lnTo>
                    <a:pt x="592" y="390"/>
                  </a:lnTo>
                  <a:lnTo>
                    <a:pt x="592" y="390"/>
                  </a:lnTo>
                  <a:lnTo>
                    <a:pt x="591" y="370"/>
                  </a:lnTo>
                  <a:lnTo>
                    <a:pt x="590" y="350"/>
                  </a:lnTo>
                  <a:lnTo>
                    <a:pt x="587" y="332"/>
                  </a:lnTo>
                  <a:lnTo>
                    <a:pt x="583" y="315"/>
                  </a:lnTo>
                  <a:lnTo>
                    <a:pt x="578" y="297"/>
                  </a:lnTo>
                  <a:lnTo>
                    <a:pt x="572" y="282"/>
                  </a:lnTo>
                  <a:lnTo>
                    <a:pt x="565" y="269"/>
                  </a:lnTo>
                  <a:lnTo>
                    <a:pt x="556" y="256"/>
                  </a:lnTo>
                  <a:lnTo>
                    <a:pt x="545" y="244"/>
                  </a:lnTo>
                  <a:lnTo>
                    <a:pt x="534" y="234"/>
                  </a:lnTo>
                  <a:lnTo>
                    <a:pt x="522" y="225"/>
                  </a:lnTo>
                  <a:lnTo>
                    <a:pt x="508" y="218"/>
                  </a:lnTo>
                  <a:lnTo>
                    <a:pt x="491" y="212"/>
                  </a:lnTo>
                  <a:lnTo>
                    <a:pt x="475" y="208"/>
                  </a:lnTo>
                  <a:lnTo>
                    <a:pt x="457" y="206"/>
                  </a:lnTo>
                  <a:lnTo>
                    <a:pt x="436" y="205"/>
                  </a:lnTo>
                  <a:lnTo>
                    <a:pt x="436" y="205"/>
                  </a:lnTo>
                  <a:lnTo>
                    <a:pt x="423" y="205"/>
                  </a:lnTo>
                  <a:lnTo>
                    <a:pt x="410" y="206"/>
                  </a:lnTo>
                  <a:lnTo>
                    <a:pt x="397" y="208"/>
                  </a:lnTo>
                  <a:lnTo>
                    <a:pt x="384" y="210"/>
                  </a:lnTo>
                  <a:lnTo>
                    <a:pt x="373" y="212"/>
                  </a:lnTo>
                  <a:lnTo>
                    <a:pt x="362" y="216"/>
                  </a:lnTo>
                  <a:lnTo>
                    <a:pt x="351" y="219"/>
                  </a:lnTo>
                  <a:lnTo>
                    <a:pt x="341" y="224"/>
                  </a:lnTo>
                  <a:lnTo>
                    <a:pt x="332" y="228"/>
                  </a:lnTo>
                  <a:lnTo>
                    <a:pt x="322" y="234"/>
                  </a:lnTo>
                  <a:lnTo>
                    <a:pt x="313" y="239"/>
                  </a:lnTo>
                  <a:lnTo>
                    <a:pt x="305" y="245"/>
                  </a:lnTo>
                  <a:lnTo>
                    <a:pt x="297" y="253"/>
                  </a:lnTo>
                  <a:lnTo>
                    <a:pt x="290" y="260"/>
                  </a:lnTo>
                  <a:lnTo>
                    <a:pt x="277" y="275"/>
                  </a:lnTo>
                  <a:lnTo>
                    <a:pt x="264" y="291"/>
                  </a:lnTo>
                  <a:lnTo>
                    <a:pt x="254" y="310"/>
                  </a:lnTo>
                  <a:lnTo>
                    <a:pt x="246" y="329"/>
                  </a:lnTo>
                  <a:lnTo>
                    <a:pt x="240" y="348"/>
                  </a:lnTo>
                  <a:lnTo>
                    <a:pt x="235" y="370"/>
                  </a:lnTo>
                  <a:lnTo>
                    <a:pt x="231" y="391"/>
                  </a:lnTo>
                  <a:lnTo>
                    <a:pt x="229" y="413"/>
                  </a:lnTo>
                  <a:lnTo>
                    <a:pt x="228" y="436"/>
                  </a:lnTo>
                  <a:lnTo>
                    <a:pt x="228" y="933"/>
                  </a:lnTo>
                  <a:lnTo>
                    <a:pt x="0" y="933"/>
                  </a:lnTo>
                  <a:lnTo>
                    <a:pt x="0" y="22"/>
                  </a:lnTo>
                  <a:close/>
                </a:path>
              </a:pathLst>
            </a:custGeom>
            <a:solidFill>
              <a:srgbClr val="60606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606060"/>
                </a:solidFill>
              </a:endParaRPr>
            </a:p>
          </p:txBody>
        </p:sp>
        <p:sp>
          <p:nvSpPr>
            <p:cNvPr id="26" name="Freeform 30"/>
            <p:cNvSpPr>
              <a:spLocks noEditPoints="1"/>
            </p:cNvSpPr>
            <p:nvPr/>
          </p:nvSpPr>
          <p:spPr bwMode="auto">
            <a:xfrm>
              <a:off x="4367213" y="4995863"/>
              <a:ext cx="779462" cy="1109662"/>
            </a:xfrm>
            <a:custGeom>
              <a:avLst/>
              <a:gdLst/>
              <a:ahLst/>
              <a:cxnLst>
                <a:cxn ang="0">
                  <a:pos x="482" y="445"/>
                </a:cxn>
                <a:cxn ang="0">
                  <a:pos x="382" y="470"/>
                </a:cxn>
                <a:cxn ang="0">
                  <a:pos x="307" y="510"/>
                </a:cxn>
                <a:cxn ang="0">
                  <a:pos x="253" y="557"/>
                </a:cxn>
                <a:cxn ang="0">
                  <a:pos x="227" y="0"/>
                </a:cxn>
                <a:cxn ang="0">
                  <a:pos x="216" y="1238"/>
                </a:cxn>
                <a:cxn ang="0">
                  <a:pos x="248" y="1277"/>
                </a:cxn>
                <a:cxn ang="0">
                  <a:pos x="315" y="1337"/>
                </a:cxn>
                <a:cxn ang="0">
                  <a:pos x="395" y="1377"/>
                </a:cxn>
                <a:cxn ang="0">
                  <a:pos x="486" y="1395"/>
                </a:cxn>
                <a:cxn ang="0">
                  <a:pos x="559" y="1397"/>
                </a:cxn>
                <a:cxn ang="0">
                  <a:pos x="656" y="1383"/>
                </a:cxn>
                <a:cxn ang="0">
                  <a:pos x="742" y="1351"/>
                </a:cxn>
                <a:cxn ang="0">
                  <a:pos x="816" y="1305"/>
                </a:cxn>
                <a:cxn ang="0">
                  <a:pos x="877" y="1243"/>
                </a:cxn>
                <a:cxn ang="0">
                  <a:pos x="925" y="1170"/>
                </a:cxn>
                <a:cxn ang="0">
                  <a:pos x="959" y="1087"/>
                </a:cxn>
                <a:cxn ang="0">
                  <a:pos x="978" y="994"/>
                </a:cxn>
                <a:cxn ang="0">
                  <a:pos x="982" y="920"/>
                </a:cxn>
                <a:cxn ang="0">
                  <a:pos x="974" y="822"/>
                </a:cxn>
                <a:cxn ang="0">
                  <a:pos x="951" y="731"/>
                </a:cxn>
                <a:cxn ang="0">
                  <a:pos x="912" y="650"/>
                </a:cxn>
                <a:cxn ang="0">
                  <a:pos x="860" y="579"/>
                </a:cxn>
                <a:cxn ang="0">
                  <a:pos x="796" y="522"/>
                </a:cxn>
                <a:cxn ang="0">
                  <a:pos x="720" y="479"/>
                </a:cxn>
                <a:cxn ang="0">
                  <a:pos x="636" y="451"/>
                </a:cxn>
                <a:cxn ang="0">
                  <a:pos x="542" y="442"/>
                </a:cxn>
                <a:cxn ang="0">
                  <a:pos x="472" y="1193"/>
                </a:cxn>
                <a:cxn ang="0">
                  <a:pos x="414" y="1183"/>
                </a:cxn>
                <a:cxn ang="0">
                  <a:pos x="363" y="1165"/>
                </a:cxn>
                <a:cxn ang="0">
                  <a:pos x="319" y="1136"/>
                </a:cxn>
                <a:cxn ang="0">
                  <a:pos x="282" y="1100"/>
                </a:cxn>
                <a:cxn ang="0">
                  <a:pos x="249" y="1046"/>
                </a:cxn>
                <a:cxn ang="0">
                  <a:pos x="221" y="946"/>
                </a:cxn>
                <a:cxn ang="0">
                  <a:pos x="224" y="867"/>
                </a:cxn>
                <a:cxn ang="0">
                  <a:pos x="261" y="771"/>
                </a:cxn>
                <a:cxn ang="0">
                  <a:pos x="291" y="730"/>
                </a:cxn>
                <a:cxn ang="0">
                  <a:pos x="329" y="696"/>
                </a:cxn>
                <a:cxn ang="0">
                  <a:pos x="375" y="669"/>
                </a:cxn>
                <a:cxn ang="0">
                  <a:pos x="428" y="653"/>
                </a:cxn>
                <a:cxn ang="0">
                  <a:pos x="487" y="647"/>
                </a:cxn>
                <a:cxn ang="0">
                  <a:pos x="533" y="650"/>
                </a:cxn>
                <a:cxn ang="0">
                  <a:pos x="587" y="664"/>
                </a:cxn>
                <a:cxn ang="0">
                  <a:pos x="635" y="688"/>
                </a:cxn>
                <a:cxn ang="0">
                  <a:pos x="674" y="721"/>
                </a:cxn>
                <a:cxn ang="0">
                  <a:pos x="707" y="760"/>
                </a:cxn>
                <a:cxn ang="0">
                  <a:pos x="745" y="841"/>
                </a:cxn>
                <a:cxn ang="0">
                  <a:pos x="755" y="920"/>
                </a:cxn>
                <a:cxn ang="0">
                  <a:pos x="737" y="1022"/>
                </a:cxn>
                <a:cxn ang="0">
                  <a:pos x="700" y="1090"/>
                </a:cxn>
                <a:cxn ang="0">
                  <a:pos x="665" y="1127"/>
                </a:cxn>
                <a:cxn ang="0">
                  <a:pos x="623" y="1158"/>
                </a:cxn>
                <a:cxn ang="0">
                  <a:pos x="574" y="1180"/>
                </a:cxn>
                <a:cxn ang="0">
                  <a:pos x="518" y="1191"/>
                </a:cxn>
              </a:cxnLst>
              <a:rect l="0" t="0" r="r" b="b"/>
              <a:pathLst>
                <a:path w="982" h="1398">
                  <a:moveTo>
                    <a:pt x="542" y="442"/>
                  </a:moveTo>
                  <a:lnTo>
                    <a:pt x="542" y="442"/>
                  </a:lnTo>
                  <a:lnTo>
                    <a:pt x="511" y="443"/>
                  </a:lnTo>
                  <a:lnTo>
                    <a:pt x="482" y="445"/>
                  </a:lnTo>
                  <a:lnTo>
                    <a:pt x="454" y="449"/>
                  </a:lnTo>
                  <a:lnTo>
                    <a:pt x="429" y="455"/>
                  </a:lnTo>
                  <a:lnTo>
                    <a:pt x="404" y="462"/>
                  </a:lnTo>
                  <a:lnTo>
                    <a:pt x="382" y="470"/>
                  </a:lnTo>
                  <a:lnTo>
                    <a:pt x="361" y="479"/>
                  </a:lnTo>
                  <a:lnTo>
                    <a:pt x="341" y="489"/>
                  </a:lnTo>
                  <a:lnTo>
                    <a:pt x="324" y="499"/>
                  </a:lnTo>
                  <a:lnTo>
                    <a:pt x="307" y="510"/>
                  </a:lnTo>
                  <a:lnTo>
                    <a:pt x="291" y="522"/>
                  </a:lnTo>
                  <a:lnTo>
                    <a:pt x="277" y="534"/>
                  </a:lnTo>
                  <a:lnTo>
                    <a:pt x="265" y="546"/>
                  </a:lnTo>
                  <a:lnTo>
                    <a:pt x="253" y="557"/>
                  </a:lnTo>
                  <a:lnTo>
                    <a:pt x="242" y="569"/>
                  </a:lnTo>
                  <a:lnTo>
                    <a:pt x="233" y="580"/>
                  </a:lnTo>
                  <a:lnTo>
                    <a:pt x="227" y="580"/>
                  </a:lnTo>
                  <a:lnTo>
                    <a:pt x="227" y="0"/>
                  </a:lnTo>
                  <a:lnTo>
                    <a:pt x="0" y="0"/>
                  </a:lnTo>
                  <a:lnTo>
                    <a:pt x="0" y="1375"/>
                  </a:lnTo>
                  <a:lnTo>
                    <a:pt x="216" y="1375"/>
                  </a:lnTo>
                  <a:lnTo>
                    <a:pt x="216" y="1238"/>
                  </a:lnTo>
                  <a:lnTo>
                    <a:pt x="220" y="1238"/>
                  </a:lnTo>
                  <a:lnTo>
                    <a:pt x="220" y="1238"/>
                  </a:lnTo>
                  <a:lnTo>
                    <a:pt x="233" y="1258"/>
                  </a:lnTo>
                  <a:lnTo>
                    <a:pt x="248" y="1277"/>
                  </a:lnTo>
                  <a:lnTo>
                    <a:pt x="263" y="1294"/>
                  </a:lnTo>
                  <a:lnTo>
                    <a:pt x="279" y="1310"/>
                  </a:lnTo>
                  <a:lnTo>
                    <a:pt x="296" y="1324"/>
                  </a:lnTo>
                  <a:lnTo>
                    <a:pt x="315" y="1337"/>
                  </a:lnTo>
                  <a:lnTo>
                    <a:pt x="334" y="1349"/>
                  </a:lnTo>
                  <a:lnTo>
                    <a:pt x="353" y="1360"/>
                  </a:lnTo>
                  <a:lnTo>
                    <a:pt x="374" y="1369"/>
                  </a:lnTo>
                  <a:lnTo>
                    <a:pt x="395" y="1377"/>
                  </a:lnTo>
                  <a:lnTo>
                    <a:pt x="418" y="1383"/>
                  </a:lnTo>
                  <a:lnTo>
                    <a:pt x="440" y="1388"/>
                  </a:lnTo>
                  <a:lnTo>
                    <a:pt x="462" y="1392"/>
                  </a:lnTo>
                  <a:lnTo>
                    <a:pt x="486" y="1395"/>
                  </a:lnTo>
                  <a:lnTo>
                    <a:pt x="509" y="1397"/>
                  </a:lnTo>
                  <a:lnTo>
                    <a:pt x="533" y="1398"/>
                  </a:lnTo>
                  <a:lnTo>
                    <a:pt x="533" y="1398"/>
                  </a:lnTo>
                  <a:lnTo>
                    <a:pt x="559" y="1397"/>
                  </a:lnTo>
                  <a:lnTo>
                    <a:pt x="585" y="1395"/>
                  </a:lnTo>
                  <a:lnTo>
                    <a:pt x="609" y="1392"/>
                  </a:lnTo>
                  <a:lnTo>
                    <a:pt x="633" y="1388"/>
                  </a:lnTo>
                  <a:lnTo>
                    <a:pt x="656" y="1383"/>
                  </a:lnTo>
                  <a:lnTo>
                    <a:pt x="678" y="1377"/>
                  </a:lnTo>
                  <a:lnTo>
                    <a:pt x="701" y="1370"/>
                  </a:lnTo>
                  <a:lnTo>
                    <a:pt x="721" y="1361"/>
                  </a:lnTo>
                  <a:lnTo>
                    <a:pt x="742" y="1351"/>
                  </a:lnTo>
                  <a:lnTo>
                    <a:pt x="762" y="1341"/>
                  </a:lnTo>
                  <a:lnTo>
                    <a:pt x="780" y="1330"/>
                  </a:lnTo>
                  <a:lnTo>
                    <a:pt x="799" y="1318"/>
                  </a:lnTo>
                  <a:lnTo>
                    <a:pt x="816" y="1305"/>
                  </a:lnTo>
                  <a:lnTo>
                    <a:pt x="832" y="1290"/>
                  </a:lnTo>
                  <a:lnTo>
                    <a:pt x="849" y="1275"/>
                  </a:lnTo>
                  <a:lnTo>
                    <a:pt x="863" y="1260"/>
                  </a:lnTo>
                  <a:lnTo>
                    <a:pt x="877" y="1243"/>
                  </a:lnTo>
                  <a:lnTo>
                    <a:pt x="890" y="1226"/>
                  </a:lnTo>
                  <a:lnTo>
                    <a:pt x="903" y="1208"/>
                  </a:lnTo>
                  <a:lnTo>
                    <a:pt x="914" y="1189"/>
                  </a:lnTo>
                  <a:lnTo>
                    <a:pt x="925" y="1170"/>
                  </a:lnTo>
                  <a:lnTo>
                    <a:pt x="935" y="1150"/>
                  </a:lnTo>
                  <a:lnTo>
                    <a:pt x="943" y="1129"/>
                  </a:lnTo>
                  <a:lnTo>
                    <a:pt x="952" y="1108"/>
                  </a:lnTo>
                  <a:lnTo>
                    <a:pt x="959" y="1087"/>
                  </a:lnTo>
                  <a:lnTo>
                    <a:pt x="965" y="1064"/>
                  </a:lnTo>
                  <a:lnTo>
                    <a:pt x="970" y="1041"/>
                  </a:lnTo>
                  <a:lnTo>
                    <a:pt x="975" y="1017"/>
                  </a:lnTo>
                  <a:lnTo>
                    <a:pt x="978" y="994"/>
                  </a:lnTo>
                  <a:lnTo>
                    <a:pt x="980" y="969"/>
                  </a:lnTo>
                  <a:lnTo>
                    <a:pt x="982" y="945"/>
                  </a:lnTo>
                  <a:lnTo>
                    <a:pt x="982" y="920"/>
                  </a:lnTo>
                  <a:lnTo>
                    <a:pt x="982" y="920"/>
                  </a:lnTo>
                  <a:lnTo>
                    <a:pt x="982" y="894"/>
                  </a:lnTo>
                  <a:lnTo>
                    <a:pt x="980" y="870"/>
                  </a:lnTo>
                  <a:lnTo>
                    <a:pt x="978" y="845"/>
                  </a:lnTo>
                  <a:lnTo>
                    <a:pt x="974" y="822"/>
                  </a:lnTo>
                  <a:lnTo>
                    <a:pt x="970" y="798"/>
                  </a:lnTo>
                  <a:lnTo>
                    <a:pt x="964" y="776"/>
                  </a:lnTo>
                  <a:lnTo>
                    <a:pt x="958" y="754"/>
                  </a:lnTo>
                  <a:lnTo>
                    <a:pt x="951" y="731"/>
                  </a:lnTo>
                  <a:lnTo>
                    <a:pt x="942" y="710"/>
                  </a:lnTo>
                  <a:lnTo>
                    <a:pt x="933" y="689"/>
                  </a:lnTo>
                  <a:lnTo>
                    <a:pt x="923" y="669"/>
                  </a:lnTo>
                  <a:lnTo>
                    <a:pt x="912" y="650"/>
                  </a:lnTo>
                  <a:lnTo>
                    <a:pt x="900" y="631"/>
                  </a:lnTo>
                  <a:lnTo>
                    <a:pt x="887" y="613"/>
                  </a:lnTo>
                  <a:lnTo>
                    <a:pt x="874" y="596"/>
                  </a:lnTo>
                  <a:lnTo>
                    <a:pt x="860" y="579"/>
                  </a:lnTo>
                  <a:lnTo>
                    <a:pt x="845" y="564"/>
                  </a:lnTo>
                  <a:lnTo>
                    <a:pt x="829" y="549"/>
                  </a:lnTo>
                  <a:lnTo>
                    <a:pt x="813" y="535"/>
                  </a:lnTo>
                  <a:lnTo>
                    <a:pt x="796" y="522"/>
                  </a:lnTo>
                  <a:lnTo>
                    <a:pt x="778" y="509"/>
                  </a:lnTo>
                  <a:lnTo>
                    <a:pt x="760" y="498"/>
                  </a:lnTo>
                  <a:lnTo>
                    <a:pt x="741" y="488"/>
                  </a:lnTo>
                  <a:lnTo>
                    <a:pt x="720" y="479"/>
                  </a:lnTo>
                  <a:lnTo>
                    <a:pt x="701" y="470"/>
                  </a:lnTo>
                  <a:lnTo>
                    <a:pt x="679" y="462"/>
                  </a:lnTo>
                  <a:lnTo>
                    <a:pt x="658" y="456"/>
                  </a:lnTo>
                  <a:lnTo>
                    <a:pt x="636" y="451"/>
                  </a:lnTo>
                  <a:lnTo>
                    <a:pt x="613" y="447"/>
                  </a:lnTo>
                  <a:lnTo>
                    <a:pt x="590" y="444"/>
                  </a:lnTo>
                  <a:lnTo>
                    <a:pt x="566" y="442"/>
                  </a:lnTo>
                  <a:lnTo>
                    <a:pt x="542" y="442"/>
                  </a:lnTo>
                  <a:lnTo>
                    <a:pt x="542" y="442"/>
                  </a:lnTo>
                  <a:close/>
                  <a:moveTo>
                    <a:pt x="487" y="1193"/>
                  </a:moveTo>
                  <a:lnTo>
                    <a:pt x="487" y="1193"/>
                  </a:lnTo>
                  <a:lnTo>
                    <a:pt x="472" y="1193"/>
                  </a:lnTo>
                  <a:lnTo>
                    <a:pt x="456" y="1191"/>
                  </a:lnTo>
                  <a:lnTo>
                    <a:pt x="442" y="1189"/>
                  </a:lnTo>
                  <a:lnTo>
                    <a:pt x="428" y="1187"/>
                  </a:lnTo>
                  <a:lnTo>
                    <a:pt x="414" y="1183"/>
                  </a:lnTo>
                  <a:lnTo>
                    <a:pt x="400" y="1180"/>
                  </a:lnTo>
                  <a:lnTo>
                    <a:pt x="387" y="1175"/>
                  </a:lnTo>
                  <a:lnTo>
                    <a:pt x="375" y="1170"/>
                  </a:lnTo>
                  <a:lnTo>
                    <a:pt x="363" y="1165"/>
                  </a:lnTo>
                  <a:lnTo>
                    <a:pt x="351" y="1158"/>
                  </a:lnTo>
                  <a:lnTo>
                    <a:pt x="340" y="1152"/>
                  </a:lnTo>
                  <a:lnTo>
                    <a:pt x="329" y="1144"/>
                  </a:lnTo>
                  <a:lnTo>
                    <a:pt x="319" y="1136"/>
                  </a:lnTo>
                  <a:lnTo>
                    <a:pt x="309" y="1127"/>
                  </a:lnTo>
                  <a:lnTo>
                    <a:pt x="299" y="1119"/>
                  </a:lnTo>
                  <a:lnTo>
                    <a:pt x="291" y="1110"/>
                  </a:lnTo>
                  <a:lnTo>
                    <a:pt x="282" y="1100"/>
                  </a:lnTo>
                  <a:lnTo>
                    <a:pt x="275" y="1090"/>
                  </a:lnTo>
                  <a:lnTo>
                    <a:pt x="267" y="1079"/>
                  </a:lnTo>
                  <a:lnTo>
                    <a:pt x="261" y="1068"/>
                  </a:lnTo>
                  <a:lnTo>
                    <a:pt x="249" y="1046"/>
                  </a:lnTo>
                  <a:lnTo>
                    <a:pt x="238" y="1022"/>
                  </a:lnTo>
                  <a:lnTo>
                    <a:pt x="230" y="998"/>
                  </a:lnTo>
                  <a:lnTo>
                    <a:pt x="224" y="973"/>
                  </a:lnTo>
                  <a:lnTo>
                    <a:pt x="221" y="946"/>
                  </a:lnTo>
                  <a:lnTo>
                    <a:pt x="220" y="920"/>
                  </a:lnTo>
                  <a:lnTo>
                    <a:pt x="220" y="920"/>
                  </a:lnTo>
                  <a:lnTo>
                    <a:pt x="221" y="893"/>
                  </a:lnTo>
                  <a:lnTo>
                    <a:pt x="224" y="867"/>
                  </a:lnTo>
                  <a:lnTo>
                    <a:pt x="230" y="841"/>
                  </a:lnTo>
                  <a:lnTo>
                    <a:pt x="238" y="817"/>
                  </a:lnTo>
                  <a:lnTo>
                    <a:pt x="249" y="793"/>
                  </a:lnTo>
                  <a:lnTo>
                    <a:pt x="261" y="771"/>
                  </a:lnTo>
                  <a:lnTo>
                    <a:pt x="267" y="760"/>
                  </a:lnTo>
                  <a:lnTo>
                    <a:pt x="275" y="750"/>
                  </a:lnTo>
                  <a:lnTo>
                    <a:pt x="282" y="739"/>
                  </a:lnTo>
                  <a:lnTo>
                    <a:pt x="291" y="730"/>
                  </a:lnTo>
                  <a:lnTo>
                    <a:pt x="299" y="721"/>
                  </a:lnTo>
                  <a:lnTo>
                    <a:pt x="309" y="712"/>
                  </a:lnTo>
                  <a:lnTo>
                    <a:pt x="319" y="704"/>
                  </a:lnTo>
                  <a:lnTo>
                    <a:pt x="329" y="696"/>
                  </a:lnTo>
                  <a:lnTo>
                    <a:pt x="340" y="688"/>
                  </a:lnTo>
                  <a:lnTo>
                    <a:pt x="351" y="681"/>
                  </a:lnTo>
                  <a:lnTo>
                    <a:pt x="363" y="675"/>
                  </a:lnTo>
                  <a:lnTo>
                    <a:pt x="375" y="669"/>
                  </a:lnTo>
                  <a:lnTo>
                    <a:pt x="387" y="664"/>
                  </a:lnTo>
                  <a:lnTo>
                    <a:pt x="400" y="660"/>
                  </a:lnTo>
                  <a:lnTo>
                    <a:pt x="414" y="656"/>
                  </a:lnTo>
                  <a:lnTo>
                    <a:pt x="428" y="653"/>
                  </a:lnTo>
                  <a:lnTo>
                    <a:pt x="442" y="650"/>
                  </a:lnTo>
                  <a:lnTo>
                    <a:pt x="456" y="648"/>
                  </a:lnTo>
                  <a:lnTo>
                    <a:pt x="472" y="647"/>
                  </a:lnTo>
                  <a:lnTo>
                    <a:pt x="487" y="647"/>
                  </a:lnTo>
                  <a:lnTo>
                    <a:pt x="487" y="647"/>
                  </a:lnTo>
                  <a:lnTo>
                    <a:pt x="502" y="647"/>
                  </a:lnTo>
                  <a:lnTo>
                    <a:pt x="518" y="648"/>
                  </a:lnTo>
                  <a:lnTo>
                    <a:pt x="533" y="650"/>
                  </a:lnTo>
                  <a:lnTo>
                    <a:pt x="547" y="653"/>
                  </a:lnTo>
                  <a:lnTo>
                    <a:pt x="560" y="656"/>
                  </a:lnTo>
                  <a:lnTo>
                    <a:pt x="574" y="660"/>
                  </a:lnTo>
                  <a:lnTo>
                    <a:pt x="587" y="664"/>
                  </a:lnTo>
                  <a:lnTo>
                    <a:pt x="600" y="669"/>
                  </a:lnTo>
                  <a:lnTo>
                    <a:pt x="611" y="675"/>
                  </a:lnTo>
                  <a:lnTo>
                    <a:pt x="623" y="681"/>
                  </a:lnTo>
                  <a:lnTo>
                    <a:pt x="635" y="688"/>
                  </a:lnTo>
                  <a:lnTo>
                    <a:pt x="645" y="696"/>
                  </a:lnTo>
                  <a:lnTo>
                    <a:pt x="656" y="704"/>
                  </a:lnTo>
                  <a:lnTo>
                    <a:pt x="665" y="712"/>
                  </a:lnTo>
                  <a:lnTo>
                    <a:pt x="674" y="721"/>
                  </a:lnTo>
                  <a:lnTo>
                    <a:pt x="684" y="730"/>
                  </a:lnTo>
                  <a:lnTo>
                    <a:pt x="692" y="739"/>
                  </a:lnTo>
                  <a:lnTo>
                    <a:pt x="700" y="750"/>
                  </a:lnTo>
                  <a:lnTo>
                    <a:pt x="707" y="760"/>
                  </a:lnTo>
                  <a:lnTo>
                    <a:pt x="714" y="771"/>
                  </a:lnTo>
                  <a:lnTo>
                    <a:pt x="726" y="793"/>
                  </a:lnTo>
                  <a:lnTo>
                    <a:pt x="737" y="817"/>
                  </a:lnTo>
                  <a:lnTo>
                    <a:pt x="745" y="841"/>
                  </a:lnTo>
                  <a:lnTo>
                    <a:pt x="750" y="867"/>
                  </a:lnTo>
                  <a:lnTo>
                    <a:pt x="754" y="893"/>
                  </a:lnTo>
                  <a:lnTo>
                    <a:pt x="755" y="920"/>
                  </a:lnTo>
                  <a:lnTo>
                    <a:pt x="755" y="920"/>
                  </a:lnTo>
                  <a:lnTo>
                    <a:pt x="754" y="946"/>
                  </a:lnTo>
                  <a:lnTo>
                    <a:pt x="750" y="973"/>
                  </a:lnTo>
                  <a:lnTo>
                    <a:pt x="745" y="998"/>
                  </a:lnTo>
                  <a:lnTo>
                    <a:pt x="737" y="1022"/>
                  </a:lnTo>
                  <a:lnTo>
                    <a:pt x="726" y="1046"/>
                  </a:lnTo>
                  <a:lnTo>
                    <a:pt x="714" y="1068"/>
                  </a:lnTo>
                  <a:lnTo>
                    <a:pt x="707" y="1079"/>
                  </a:lnTo>
                  <a:lnTo>
                    <a:pt x="700" y="1090"/>
                  </a:lnTo>
                  <a:lnTo>
                    <a:pt x="692" y="1100"/>
                  </a:lnTo>
                  <a:lnTo>
                    <a:pt x="684" y="1110"/>
                  </a:lnTo>
                  <a:lnTo>
                    <a:pt x="674" y="1119"/>
                  </a:lnTo>
                  <a:lnTo>
                    <a:pt x="665" y="1127"/>
                  </a:lnTo>
                  <a:lnTo>
                    <a:pt x="656" y="1136"/>
                  </a:lnTo>
                  <a:lnTo>
                    <a:pt x="645" y="1144"/>
                  </a:lnTo>
                  <a:lnTo>
                    <a:pt x="635" y="1152"/>
                  </a:lnTo>
                  <a:lnTo>
                    <a:pt x="623" y="1158"/>
                  </a:lnTo>
                  <a:lnTo>
                    <a:pt x="611" y="1165"/>
                  </a:lnTo>
                  <a:lnTo>
                    <a:pt x="600" y="1170"/>
                  </a:lnTo>
                  <a:lnTo>
                    <a:pt x="587" y="1175"/>
                  </a:lnTo>
                  <a:lnTo>
                    <a:pt x="574" y="1180"/>
                  </a:lnTo>
                  <a:lnTo>
                    <a:pt x="560" y="1183"/>
                  </a:lnTo>
                  <a:lnTo>
                    <a:pt x="547" y="1187"/>
                  </a:lnTo>
                  <a:lnTo>
                    <a:pt x="533" y="1189"/>
                  </a:lnTo>
                  <a:lnTo>
                    <a:pt x="518" y="1191"/>
                  </a:lnTo>
                  <a:lnTo>
                    <a:pt x="502" y="1193"/>
                  </a:lnTo>
                  <a:lnTo>
                    <a:pt x="487" y="1193"/>
                  </a:lnTo>
                  <a:lnTo>
                    <a:pt x="487" y="1193"/>
                  </a:lnTo>
                  <a:close/>
                </a:path>
              </a:pathLst>
            </a:custGeom>
            <a:solidFill>
              <a:srgbClr val="60606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606060"/>
                </a:solidFill>
              </a:endParaRPr>
            </a:p>
          </p:txBody>
        </p:sp>
        <p:sp>
          <p:nvSpPr>
            <p:cNvPr id="27" name="Freeform 31"/>
            <p:cNvSpPr>
              <a:spLocks noEditPoints="1"/>
            </p:cNvSpPr>
            <p:nvPr/>
          </p:nvSpPr>
          <p:spPr bwMode="auto">
            <a:xfrm>
              <a:off x="5229225" y="5346700"/>
              <a:ext cx="731837" cy="758825"/>
            </a:xfrm>
            <a:custGeom>
              <a:avLst/>
              <a:gdLst/>
              <a:ahLst/>
              <a:cxnLst>
                <a:cxn ang="0">
                  <a:pos x="231" y="363"/>
                </a:cxn>
                <a:cxn ang="0">
                  <a:pos x="253" y="297"/>
                </a:cxn>
                <a:cxn ang="0">
                  <a:pos x="286" y="244"/>
                </a:cxn>
                <a:cxn ang="0">
                  <a:pos x="333" y="205"/>
                </a:cxn>
                <a:cxn ang="0">
                  <a:pos x="392" y="179"/>
                </a:cxn>
                <a:cxn ang="0">
                  <a:pos x="463" y="170"/>
                </a:cxn>
                <a:cxn ang="0">
                  <a:pos x="514" y="174"/>
                </a:cxn>
                <a:cxn ang="0">
                  <a:pos x="579" y="193"/>
                </a:cxn>
                <a:cxn ang="0">
                  <a:pos x="631" y="229"/>
                </a:cxn>
                <a:cxn ang="0">
                  <a:pos x="668" y="278"/>
                </a:cxn>
                <a:cxn ang="0">
                  <a:pos x="690" y="339"/>
                </a:cxn>
                <a:cxn ang="0">
                  <a:pos x="227" y="387"/>
                </a:cxn>
                <a:cxn ang="0">
                  <a:pos x="922" y="495"/>
                </a:cxn>
                <a:cxn ang="0">
                  <a:pos x="917" y="409"/>
                </a:cxn>
                <a:cxn ang="0">
                  <a:pos x="904" y="332"/>
                </a:cxn>
                <a:cxn ang="0">
                  <a:pos x="882" y="262"/>
                </a:cxn>
                <a:cxn ang="0">
                  <a:pos x="854" y="200"/>
                </a:cxn>
                <a:cxn ang="0">
                  <a:pos x="817" y="145"/>
                </a:cxn>
                <a:cxn ang="0">
                  <a:pos x="774" y="99"/>
                </a:cxn>
                <a:cxn ang="0">
                  <a:pos x="724" y="61"/>
                </a:cxn>
                <a:cxn ang="0">
                  <a:pos x="668" y="33"/>
                </a:cxn>
                <a:cxn ang="0">
                  <a:pos x="607" y="12"/>
                </a:cxn>
                <a:cxn ang="0">
                  <a:pos x="541" y="2"/>
                </a:cxn>
                <a:cxn ang="0">
                  <a:pos x="495" y="0"/>
                </a:cxn>
                <a:cxn ang="0">
                  <a:pos x="419" y="5"/>
                </a:cxn>
                <a:cxn ang="0">
                  <a:pos x="346" y="19"/>
                </a:cxn>
                <a:cxn ang="0">
                  <a:pos x="279" y="43"/>
                </a:cxn>
                <a:cxn ang="0">
                  <a:pos x="217" y="75"/>
                </a:cxn>
                <a:cxn ang="0">
                  <a:pos x="161" y="116"/>
                </a:cxn>
                <a:cxn ang="0">
                  <a:pos x="112" y="164"/>
                </a:cxn>
                <a:cxn ang="0">
                  <a:pos x="71" y="220"/>
                </a:cxn>
                <a:cxn ang="0">
                  <a:pos x="39" y="282"/>
                </a:cxn>
                <a:cxn ang="0">
                  <a:pos x="15" y="350"/>
                </a:cxn>
                <a:cxn ang="0">
                  <a:pos x="2" y="425"/>
                </a:cxn>
                <a:cxn ang="0">
                  <a:pos x="0" y="478"/>
                </a:cxn>
                <a:cxn ang="0">
                  <a:pos x="5" y="556"/>
                </a:cxn>
                <a:cxn ang="0">
                  <a:pos x="21" y="628"/>
                </a:cxn>
                <a:cxn ang="0">
                  <a:pos x="48" y="694"/>
                </a:cxn>
                <a:cxn ang="0">
                  <a:pos x="84" y="755"/>
                </a:cxn>
                <a:cxn ang="0">
                  <a:pos x="127" y="809"/>
                </a:cxn>
                <a:cxn ang="0">
                  <a:pos x="179" y="853"/>
                </a:cxn>
                <a:cxn ang="0">
                  <a:pos x="237" y="892"/>
                </a:cxn>
                <a:cxn ang="0">
                  <a:pos x="302" y="922"/>
                </a:cxn>
                <a:cxn ang="0">
                  <a:pos x="371" y="942"/>
                </a:cxn>
                <a:cxn ang="0">
                  <a:pos x="444" y="953"/>
                </a:cxn>
                <a:cxn ang="0">
                  <a:pos x="495" y="956"/>
                </a:cxn>
                <a:cxn ang="0">
                  <a:pos x="575" y="950"/>
                </a:cxn>
                <a:cxn ang="0">
                  <a:pos x="652" y="933"/>
                </a:cxn>
                <a:cxn ang="0">
                  <a:pos x="725" y="902"/>
                </a:cxn>
                <a:cxn ang="0">
                  <a:pos x="796" y="857"/>
                </a:cxn>
                <a:cxn ang="0">
                  <a:pos x="860" y="797"/>
                </a:cxn>
                <a:cxn ang="0">
                  <a:pos x="717" y="651"/>
                </a:cxn>
                <a:cxn ang="0">
                  <a:pos x="683" y="687"/>
                </a:cxn>
                <a:cxn ang="0">
                  <a:pos x="645" y="720"/>
                </a:cxn>
                <a:cxn ang="0">
                  <a:pos x="600" y="746"/>
                </a:cxn>
                <a:cxn ang="0">
                  <a:pos x="550" y="765"/>
                </a:cxn>
                <a:cxn ang="0">
                  <a:pos x="493" y="773"/>
                </a:cxn>
                <a:cxn ang="0">
                  <a:pos x="448" y="773"/>
                </a:cxn>
                <a:cxn ang="0">
                  <a:pos x="382" y="759"/>
                </a:cxn>
                <a:cxn ang="0">
                  <a:pos x="325" y="729"/>
                </a:cxn>
                <a:cxn ang="0">
                  <a:pos x="278" y="685"/>
                </a:cxn>
                <a:cxn ang="0">
                  <a:pos x="245" y="627"/>
                </a:cxn>
                <a:cxn ang="0">
                  <a:pos x="227" y="557"/>
                </a:cxn>
              </a:cxnLst>
              <a:rect l="0" t="0" r="r" b="b"/>
              <a:pathLst>
                <a:path w="922" h="956">
                  <a:moveTo>
                    <a:pt x="227" y="387"/>
                  </a:moveTo>
                  <a:lnTo>
                    <a:pt x="227" y="387"/>
                  </a:lnTo>
                  <a:lnTo>
                    <a:pt x="231" y="363"/>
                  </a:lnTo>
                  <a:lnTo>
                    <a:pt x="236" y="340"/>
                  </a:lnTo>
                  <a:lnTo>
                    <a:pt x="244" y="318"/>
                  </a:lnTo>
                  <a:lnTo>
                    <a:pt x="253" y="297"/>
                  </a:lnTo>
                  <a:lnTo>
                    <a:pt x="262" y="278"/>
                  </a:lnTo>
                  <a:lnTo>
                    <a:pt x="274" y="261"/>
                  </a:lnTo>
                  <a:lnTo>
                    <a:pt x="286" y="244"/>
                  </a:lnTo>
                  <a:lnTo>
                    <a:pt x="301" y="229"/>
                  </a:lnTo>
                  <a:lnTo>
                    <a:pt x="317" y="216"/>
                  </a:lnTo>
                  <a:lnTo>
                    <a:pt x="333" y="205"/>
                  </a:lnTo>
                  <a:lnTo>
                    <a:pt x="352" y="194"/>
                  </a:lnTo>
                  <a:lnTo>
                    <a:pt x="372" y="185"/>
                  </a:lnTo>
                  <a:lnTo>
                    <a:pt x="392" y="179"/>
                  </a:lnTo>
                  <a:lnTo>
                    <a:pt x="415" y="174"/>
                  </a:lnTo>
                  <a:lnTo>
                    <a:pt x="438" y="171"/>
                  </a:lnTo>
                  <a:lnTo>
                    <a:pt x="463" y="170"/>
                  </a:lnTo>
                  <a:lnTo>
                    <a:pt x="463" y="170"/>
                  </a:lnTo>
                  <a:lnTo>
                    <a:pt x="489" y="171"/>
                  </a:lnTo>
                  <a:lnTo>
                    <a:pt x="514" y="174"/>
                  </a:lnTo>
                  <a:lnTo>
                    <a:pt x="537" y="179"/>
                  </a:lnTo>
                  <a:lnTo>
                    <a:pt x="558" y="185"/>
                  </a:lnTo>
                  <a:lnTo>
                    <a:pt x="579" y="193"/>
                  </a:lnTo>
                  <a:lnTo>
                    <a:pt x="598" y="204"/>
                  </a:lnTo>
                  <a:lnTo>
                    <a:pt x="615" y="216"/>
                  </a:lnTo>
                  <a:lnTo>
                    <a:pt x="631" y="229"/>
                  </a:lnTo>
                  <a:lnTo>
                    <a:pt x="645" y="243"/>
                  </a:lnTo>
                  <a:lnTo>
                    <a:pt x="657" y="260"/>
                  </a:lnTo>
                  <a:lnTo>
                    <a:pt x="668" y="278"/>
                  </a:lnTo>
                  <a:lnTo>
                    <a:pt x="678" y="297"/>
                  </a:lnTo>
                  <a:lnTo>
                    <a:pt x="685" y="318"/>
                  </a:lnTo>
                  <a:lnTo>
                    <a:pt x="690" y="339"/>
                  </a:lnTo>
                  <a:lnTo>
                    <a:pt x="693" y="363"/>
                  </a:lnTo>
                  <a:lnTo>
                    <a:pt x="694" y="387"/>
                  </a:lnTo>
                  <a:lnTo>
                    <a:pt x="227" y="387"/>
                  </a:lnTo>
                  <a:close/>
                  <a:moveTo>
                    <a:pt x="922" y="557"/>
                  </a:moveTo>
                  <a:lnTo>
                    <a:pt x="922" y="495"/>
                  </a:lnTo>
                  <a:lnTo>
                    <a:pt x="922" y="495"/>
                  </a:lnTo>
                  <a:lnTo>
                    <a:pt x="921" y="465"/>
                  </a:lnTo>
                  <a:lnTo>
                    <a:pt x="920" y="437"/>
                  </a:lnTo>
                  <a:lnTo>
                    <a:pt x="917" y="409"/>
                  </a:lnTo>
                  <a:lnTo>
                    <a:pt x="914" y="383"/>
                  </a:lnTo>
                  <a:lnTo>
                    <a:pt x="910" y="356"/>
                  </a:lnTo>
                  <a:lnTo>
                    <a:pt x="904" y="332"/>
                  </a:lnTo>
                  <a:lnTo>
                    <a:pt x="898" y="308"/>
                  </a:lnTo>
                  <a:lnTo>
                    <a:pt x="890" y="284"/>
                  </a:lnTo>
                  <a:lnTo>
                    <a:pt x="882" y="262"/>
                  </a:lnTo>
                  <a:lnTo>
                    <a:pt x="874" y="239"/>
                  </a:lnTo>
                  <a:lnTo>
                    <a:pt x="864" y="219"/>
                  </a:lnTo>
                  <a:lnTo>
                    <a:pt x="854" y="200"/>
                  </a:lnTo>
                  <a:lnTo>
                    <a:pt x="843" y="180"/>
                  </a:lnTo>
                  <a:lnTo>
                    <a:pt x="830" y="162"/>
                  </a:lnTo>
                  <a:lnTo>
                    <a:pt x="817" y="145"/>
                  </a:lnTo>
                  <a:lnTo>
                    <a:pt x="804" y="128"/>
                  </a:lnTo>
                  <a:lnTo>
                    <a:pt x="790" y="113"/>
                  </a:lnTo>
                  <a:lnTo>
                    <a:pt x="774" y="99"/>
                  </a:lnTo>
                  <a:lnTo>
                    <a:pt x="758" y="86"/>
                  </a:lnTo>
                  <a:lnTo>
                    <a:pt x="742" y="73"/>
                  </a:lnTo>
                  <a:lnTo>
                    <a:pt x="724" y="61"/>
                  </a:lnTo>
                  <a:lnTo>
                    <a:pt x="706" y="51"/>
                  </a:lnTo>
                  <a:lnTo>
                    <a:pt x="688" y="41"/>
                  </a:lnTo>
                  <a:lnTo>
                    <a:pt x="668" y="33"/>
                  </a:lnTo>
                  <a:lnTo>
                    <a:pt x="649" y="25"/>
                  </a:lnTo>
                  <a:lnTo>
                    <a:pt x="629" y="18"/>
                  </a:lnTo>
                  <a:lnTo>
                    <a:pt x="607" y="12"/>
                  </a:lnTo>
                  <a:lnTo>
                    <a:pt x="586" y="8"/>
                  </a:lnTo>
                  <a:lnTo>
                    <a:pt x="564" y="4"/>
                  </a:lnTo>
                  <a:lnTo>
                    <a:pt x="541" y="2"/>
                  </a:lnTo>
                  <a:lnTo>
                    <a:pt x="519" y="0"/>
                  </a:lnTo>
                  <a:lnTo>
                    <a:pt x="495" y="0"/>
                  </a:lnTo>
                  <a:lnTo>
                    <a:pt x="495" y="0"/>
                  </a:lnTo>
                  <a:lnTo>
                    <a:pt x="469" y="0"/>
                  </a:lnTo>
                  <a:lnTo>
                    <a:pt x="444" y="2"/>
                  </a:lnTo>
                  <a:lnTo>
                    <a:pt x="419" y="5"/>
                  </a:lnTo>
                  <a:lnTo>
                    <a:pt x="394" y="8"/>
                  </a:lnTo>
                  <a:lnTo>
                    <a:pt x="371" y="13"/>
                  </a:lnTo>
                  <a:lnTo>
                    <a:pt x="346" y="19"/>
                  </a:lnTo>
                  <a:lnTo>
                    <a:pt x="324" y="26"/>
                  </a:lnTo>
                  <a:lnTo>
                    <a:pt x="302" y="35"/>
                  </a:lnTo>
                  <a:lnTo>
                    <a:pt x="279" y="43"/>
                  </a:lnTo>
                  <a:lnTo>
                    <a:pt x="258" y="53"/>
                  </a:lnTo>
                  <a:lnTo>
                    <a:pt x="237" y="64"/>
                  </a:lnTo>
                  <a:lnTo>
                    <a:pt x="217" y="75"/>
                  </a:lnTo>
                  <a:lnTo>
                    <a:pt x="198" y="88"/>
                  </a:lnTo>
                  <a:lnTo>
                    <a:pt x="179" y="102"/>
                  </a:lnTo>
                  <a:lnTo>
                    <a:pt x="161" y="116"/>
                  </a:lnTo>
                  <a:lnTo>
                    <a:pt x="144" y="131"/>
                  </a:lnTo>
                  <a:lnTo>
                    <a:pt x="127" y="148"/>
                  </a:lnTo>
                  <a:lnTo>
                    <a:pt x="112" y="164"/>
                  </a:lnTo>
                  <a:lnTo>
                    <a:pt x="98" y="182"/>
                  </a:lnTo>
                  <a:lnTo>
                    <a:pt x="84" y="201"/>
                  </a:lnTo>
                  <a:lnTo>
                    <a:pt x="71" y="220"/>
                  </a:lnTo>
                  <a:lnTo>
                    <a:pt x="59" y="240"/>
                  </a:lnTo>
                  <a:lnTo>
                    <a:pt x="48" y="261"/>
                  </a:lnTo>
                  <a:lnTo>
                    <a:pt x="39" y="282"/>
                  </a:lnTo>
                  <a:lnTo>
                    <a:pt x="30" y="304"/>
                  </a:lnTo>
                  <a:lnTo>
                    <a:pt x="21" y="327"/>
                  </a:lnTo>
                  <a:lnTo>
                    <a:pt x="15" y="350"/>
                  </a:lnTo>
                  <a:lnTo>
                    <a:pt x="9" y="375"/>
                  </a:lnTo>
                  <a:lnTo>
                    <a:pt x="5" y="399"/>
                  </a:lnTo>
                  <a:lnTo>
                    <a:pt x="2" y="425"/>
                  </a:lnTo>
                  <a:lnTo>
                    <a:pt x="0" y="451"/>
                  </a:lnTo>
                  <a:lnTo>
                    <a:pt x="0" y="478"/>
                  </a:lnTo>
                  <a:lnTo>
                    <a:pt x="0" y="478"/>
                  </a:lnTo>
                  <a:lnTo>
                    <a:pt x="0" y="504"/>
                  </a:lnTo>
                  <a:lnTo>
                    <a:pt x="2" y="531"/>
                  </a:lnTo>
                  <a:lnTo>
                    <a:pt x="5" y="556"/>
                  </a:lnTo>
                  <a:lnTo>
                    <a:pt x="9" y="580"/>
                  </a:lnTo>
                  <a:lnTo>
                    <a:pt x="15" y="605"/>
                  </a:lnTo>
                  <a:lnTo>
                    <a:pt x="21" y="628"/>
                  </a:lnTo>
                  <a:lnTo>
                    <a:pt x="30" y="651"/>
                  </a:lnTo>
                  <a:lnTo>
                    <a:pt x="39" y="673"/>
                  </a:lnTo>
                  <a:lnTo>
                    <a:pt x="48" y="694"/>
                  </a:lnTo>
                  <a:lnTo>
                    <a:pt x="59" y="716"/>
                  </a:lnTo>
                  <a:lnTo>
                    <a:pt x="71" y="735"/>
                  </a:lnTo>
                  <a:lnTo>
                    <a:pt x="84" y="755"/>
                  </a:lnTo>
                  <a:lnTo>
                    <a:pt x="98" y="773"/>
                  </a:lnTo>
                  <a:lnTo>
                    <a:pt x="112" y="791"/>
                  </a:lnTo>
                  <a:lnTo>
                    <a:pt x="127" y="809"/>
                  </a:lnTo>
                  <a:lnTo>
                    <a:pt x="144" y="824"/>
                  </a:lnTo>
                  <a:lnTo>
                    <a:pt x="161" y="839"/>
                  </a:lnTo>
                  <a:lnTo>
                    <a:pt x="179" y="853"/>
                  </a:lnTo>
                  <a:lnTo>
                    <a:pt x="198" y="868"/>
                  </a:lnTo>
                  <a:lnTo>
                    <a:pt x="217" y="880"/>
                  </a:lnTo>
                  <a:lnTo>
                    <a:pt x="237" y="892"/>
                  </a:lnTo>
                  <a:lnTo>
                    <a:pt x="258" y="902"/>
                  </a:lnTo>
                  <a:lnTo>
                    <a:pt x="279" y="912"/>
                  </a:lnTo>
                  <a:lnTo>
                    <a:pt x="302" y="922"/>
                  </a:lnTo>
                  <a:lnTo>
                    <a:pt x="324" y="930"/>
                  </a:lnTo>
                  <a:lnTo>
                    <a:pt x="346" y="936"/>
                  </a:lnTo>
                  <a:lnTo>
                    <a:pt x="371" y="942"/>
                  </a:lnTo>
                  <a:lnTo>
                    <a:pt x="394" y="947"/>
                  </a:lnTo>
                  <a:lnTo>
                    <a:pt x="419" y="951"/>
                  </a:lnTo>
                  <a:lnTo>
                    <a:pt x="444" y="953"/>
                  </a:lnTo>
                  <a:lnTo>
                    <a:pt x="469" y="955"/>
                  </a:lnTo>
                  <a:lnTo>
                    <a:pt x="495" y="956"/>
                  </a:lnTo>
                  <a:lnTo>
                    <a:pt x="495" y="956"/>
                  </a:lnTo>
                  <a:lnTo>
                    <a:pt x="522" y="955"/>
                  </a:lnTo>
                  <a:lnTo>
                    <a:pt x="548" y="953"/>
                  </a:lnTo>
                  <a:lnTo>
                    <a:pt x="575" y="950"/>
                  </a:lnTo>
                  <a:lnTo>
                    <a:pt x="601" y="946"/>
                  </a:lnTo>
                  <a:lnTo>
                    <a:pt x="627" y="940"/>
                  </a:lnTo>
                  <a:lnTo>
                    <a:pt x="652" y="933"/>
                  </a:lnTo>
                  <a:lnTo>
                    <a:pt x="677" y="924"/>
                  </a:lnTo>
                  <a:lnTo>
                    <a:pt x="702" y="913"/>
                  </a:lnTo>
                  <a:lnTo>
                    <a:pt x="725" y="902"/>
                  </a:lnTo>
                  <a:lnTo>
                    <a:pt x="750" y="889"/>
                  </a:lnTo>
                  <a:lnTo>
                    <a:pt x="772" y="874"/>
                  </a:lnTo>
                  <a:lnTo>
                    <a:pt x="796" y="857"/>
                  </a:lnTo>
                  <a:lnTo>
                    <a:pt x="817" y="839"/>
                  </a:lnTo>
                  <a:lnTo>
                    <a:pt x="839" y="819"/>
                  </a:lnTo>
                  <a:lnTo>
                    <a:pt x="860" y="797"/>
                  </a:lnTo>
                  <a:lnTo>
                    <a:pt x="880" y="774"/>
                  </a:lnTo>
                  <a:lnTo>
                    <a:pt x="717" y="651"/>
                  </a:lnTo>
                  <a:lnTo>
                    <a:pt x="717" y="651"/>
                  </a:lnTo>
                  <a:lnTo>
                    <a:pt x="706" y="663"/>
                  </a:lnTo>
                  <a:lnTo>
                    <a:pt x="695" y="676"/>
                  </a:lnTo>
                  <a:lnTo>
                    <a:pt x="683" y="687"/>
                  </a:lnTo>
                  <a:lnTo>
                    <a:pt x="670" y="700"/>
                  </a:lnTo>
                  <a:lnTo>
                    <a:pt x="658" y="710"/>
                  </a:lnTo>
                  <a:lnTo>
                    <a:pt x="645" y="720"/>
                  </a:lnTo>
                  <a:lnTo>
                    <a:pt x="631" y="730"/>
                  </a:lnTo>
                  <a:lnTo>
                    <a:pt x="615" y="738"/>
                  </a:lnTo>
                  <a:lnTo>
                    <a:pt x="600" y="746"/>
                  </a:lnTo>
                  <a:lnTo>
                    <a:pt x="585" y="754"/>
                  </a:lnTo>
                  <a:lnTo>
                    <a:pt x="568" y="760"/>
                  </a:lnTo>
                  <a:lnTo>
                    <a:pt x="550" y="765"/>
                  </a:lnTo>
                  <a:lnTo>
                    <a:pt x="532" y="768"/>
                  </a:lnTo>
                  <a:lnTo>
                    <a:pt x="514" y="771"/>
                  </a:lnTo>
                  <a:lnTo>
                    <a:pt x="493" y="773"/>
                  </a:lnTo>
                  <a:lnTo>
                    <a:pt x="473" y="774"/>
                  </a:lnTo>
                  <a:lnTo>
                    <a:pt x="473" y="774"/>
                  </a:lnTo>
                  <a:lnTo>
                    <a:pt x="448" y="773"/>
                  </a:lnTo>
                  <a:lnTo>
                    <a:pt x="426" y="770"/>
                  </a:lnTo>
                  <a:lnTo>
                    <a:pt x="403" y="766"/>
                  </a:lnTo>
                  <a:lnTo>
                    <a:pt x="382" y="759"/>
                  </a:lnTo>
                  <a:lnTo>
                    <a:pt x="362" y="751"/>
                  </a:lnTo>
                  <a:lnTo>
                    <a:pt x="342" y="740"/>
                  </a:lnTo>
                  <a:lnTo>
                    <a:pt x="325" y="729"/>
                  </a:lnTo>
                  <a:lnTo>
                    <a:pt x="308" y="716"/>
                  </a:lnTo>
                  <a:lnTo>
                    <a:pt x="292" y="702"/>
                  </a:lnTo>
                  <a:lnTo>
                    <a:pt x="278" y="685"/>
                  </a:lnTo>
                  <a:lnTo>
                    <a:pt x="265" y="667"/>
                  </a:lnTo>
                  <a:lnTo>
                    <a:pt x="254" y="648"/>
                  </a:lnTo>
                  <a:lnTo>
                    <a:pt x="245" y="627"/>
                  </a:lnTo>
                  <a:lnTo>
                    <a:pt x="237" y="605"/>
                  </a:lnTo>
                  <a:lnTo>
                    <a:pt x="231" y="581"/>
                  </a:lnTo>
                  <a:lnTo>
                    <a:pt x="227" y="557"/>
                  </a:lnTo>
                  <a:lnTo>
                    <a:pt x="922" y="557"/>
                  </a:lnTo>
                  <a:close/>
                </a:path>
              </a:pathLst>
            </a:custGeom>
            <a:solidFill>
              <a:srgbClr val="60606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606060"/>
                </a:solidFill>
              </a:endParaRPr>
            </a:p>
          </p:txBody>
        </p:sp>
        <p:sp>
          <p:nvSpPr>
            <p:cNvPr id="28" name="Freeform 32"/>
            <p:cNvSpPr>
              <a:spLocks/>
            </p:cNvSpPr>
            <p:nvPr/>
          </p:nvSpPr>
          <p:spPr bwMode="auto">
            <a:xfrm>
              <a:off x="6078538" y="5346700"/>
              <a:ext cx="461962" cy="739775"/>
            </a:xfrm>
            <a:custGeom>
              <a:avLst/>
              <a:gdLst/>
              <a:ahLst/>
              <a:cxnLst>
                <a:cxn ang="0">
                  <a:pos x="0" y="22"/>
                </a:cxn>
                <a:cxn ang="0">
                  <a:pos x="228" y="22"/>
                </a:cxn>
                <a:cxn ang="0">
                  <a:pos x="228" y="167"/>
                </a:cxn>
                <a:cxn ang="0">
                  <a:pos x="232" y="167"/>
                </a:cxn>
                <a:cxn ang="0">
                  <a:pos x="232" y="167"/>
                </a:cxn>
                <a:cxn ang="0">
                  <a:pos x="241" y="148"/>
                </a:cxn>
                <a:cxn ang="0">
                  <a:pos x="252" y="129"/>
                </a:cxn>
                <a:cxn ang="0">
                  <a:pos x="265" y="112"/>
                </a:cxn>
                <a:cxn ang="0">
                  <a:pos x="278" y="97"/>
                </a:cxn>
                <a:cxn ang="0">
                  <a:pos x="292" y="81"/>
                </a:cxn>
                <a:cxn ang="0">
                  <a:pos x="307" y="68"/>
                </a:cxn>
                <a:cxn ang="0">
                  <a:pos x="324" y="55"/>
                </a:cxn>
                <a:cxn ang="0">
                  <a:pos x="340" y="44"/>
                </a:cxn>
                <a:cxn ang="0">
                  <a:pos x="358" y="34"/>
                </a:cxn>
                <a:cxn ang="0">
                  <a:pos x="377" y="25"/>
                </a:cxn>
                <a:cxn ang="0">
                  <a:pos x="396" y="17"/>
                </a:cxn>
                <a:cxn ang="0">
                  <a:pos x="415" y="11"/>
                </a:cxn>
                <a:cxn ang="0">
                  <a:pos x="436" y="6"/>
                </a:cxn>
                <a:cxn ang="0">
                  <a:pos x="457" y="3"/>
                </a:cxn>
                <a:cxn ang="0">
                  <a:pos x="480" y="0"/>
                </a:cxn>
                <a:cxn ang="0">
                  <a:pos x="501" y="0"/>
                </a:cxn>
                <a:cxn ang="0">
                  <a:pos x="501" y="0"/>
                </a:cxn>
                <a:cxn ang="0">
                  <a:pos x="522" y="1"/>
                </a:cxn>
                <a:cxn ang="0">
                  <a:pos x="543" y="3"/>
                </a:cxn>
                <a:cxn ang="0">
                  <a:pos x="563" y="8"/>
                </a:cxn>
                <a:cxn ang="0">
                  <a:pos x="583" y="13"/>
                </a:cxn>
                <a:cxn ang="0">
                  <a:pos x="583" y="233"/>
                </a:cxn>
                <a:cxn ang="0">
                  <a:pos x="583" y="233"/>
                </a:cxn>
                <a:cxn ang="0">
                  <a:pos x="555" y="226"/>
                </a:cxn>
                <a:cxn ang="0">
                  <a:pos x="528" y="221"/>
                </a:cxn>
                <a:cxn ang="0">
                  <a:pos x="500" y="218"/>
                </a:cxn>
                <a:cxn ang="0">
                  <a:pos x="486" y="217"/>
                </a:cxn>
                <a:cxn ang="0">
                  <a:pos x="473" y="216"/>
                </a:cxn>
                <a:cxn ang="0">
                  <a:pos x="473" y="216"/>
                </a:cxn>
                <a:cxn ang="0">
                  <a:pos x="453" y="217"/>
                </a:cxn>
                <a:cxn ang="0">
                  <a:pos x="435" y="218"/>
                </a:cxn>
                <a:cxn ang="0">
                  <a:pos x="418" y="221"/>
                </a:cxn>
                <a:cxn ang="0">
                  <a:pos x="400" y="224"/>
                </a:cxn>
                <a:cxn ang="0">
                  <a:pos x="385" y="228"/>
                </a:cxn>
                <a:cxn ang="0">
                  <a:pos x="371" y="233"/>
                </a:cxn>
                <a:cxn ang="0">
                  <a:pos x="356" y="238"/>
                </a:cxn>
                <a:cxn ang="0">
                  <a:pos x="344" y="245"/>
                </a:cxn>
                <a:cxn ang="0">
                  <a:pos x="332" y="252"/>
                </a:cxn>
                <a:cxn ang="0">
                  <a:pos x="321" y="260"/>
                </a:cxn>
                <a:cxn ang="0">
                  <a:pos x="311" y="268"/>
                </a:cxn>
                <a:cxn ang="0">
                  <a:pos x="301" y="276"/>
                </a:cxn>
                <a:cxn ang="0">
                  <a:pos x="292" y="284"/>
                </a:cxn>
                <a:cxn ang="0">
                  <a:pos x="284" y="293"/>
                </a:cxn>
                <a:cxn ang="0">
                  <a:pos x="277" y="302"/>
                </a:cxn>
                <a:cxn ang="0">
                  <a:pos x="270" y="313"/>
                </a:cxn>
                <a:cxn ang="0">
                  <a:pos x="259" y="332"/>
                </a:cxn>
                <a:cxn ang="0">
                  <a:pos x="248" y="351"/>
                </a:cxn>
                <a:cxn ang="0">
                  <a:pos x="241" y="371"/>
                </a:cxn>
                <a:cxn ang="0">
                  <a:pos x="236" y="389"/>
                </a:cxn>
                <a:cxn ang="0">
                  <a:pos x="232" y="406"/>
                </a:cxn>
                <a:cxn ang="0">
                  <a:pos x="230" y="422"/>
                </a:cxn>
                <a:cxn ang="0">
                  <a:pos x="228" y="435"/>
                </a:cxn>
                <a:cxn ang="0">
                  <a:pos x="228" y="446"/>
                </a:cxn>
                <a:cxn ang="0">
                  <a:pos x="228" y="933"/>
                </a:cxn>
                <a:cxn ang="0">
                  <a:pos x="0" y="933"/>
                </a:cxn>
                <a:cxn ang="0">
                  <a:pos x="0" y="22"/>
                </a:cxn>
              </a:cxnLst>
              <a:rect l="0" t="0" r="r" b="b"/>
              <a:pathLst>
                <a:path w="583" h="933">
                  <a:moveTo>
                    <a:pt x="0" y="22"/>
                  </a:moveTo>
                  <a:lnTo>
                    <a:pt x="228" y="22"/>
                  </a:lnTo>
                  <a:lnTo>
                    <a:pt x="228" y="167"/>
                  </a:lnTo>
                  <a:lnTo>
                    <a:pt x="232" y="167"/>
                  </a:lnTo>
                  <a:lnTo>
                    <a:pt x="232" y="167"/>
                  </a:lnTo>
                  <a:lnTo>
                    <a:pt x="241" y="148"/>
                  </a:lnTo>
                  <a:lnTo>
                    <a:pt x="252" y="129"/>
                  </a:lnTo>
                  <a:lnTo>
                    <a:pt x="265" y="112"/>
                  </a:lnTo>
                  <a:lnTo>
                    <a:pt x="278" y="97"/>
                  </a:lnTo>
                  <a:lnTo>
                    <a:pt x="292" y="81"/>
                  </a:lnTo>
                  <a:lnTo>
                    <a:pt x="307" y="68"/>
                  </a:lnTo>
                  <a:lnTo>
                    <a:pt x="324" y="55"/>
                  </a:lnTo>
                  <a:lnTo>
                    <a:pt x="340" y="44"/>
                  </a:lnTo>
                  <a:lnTo>
                    <a:pt x="358" y="34"/>
                  </a:lnTo>
                  <a:lnTo>
                    <a:pt x="377" y="25"/>
                  </a:lnTo>
                  <a:lnTo>
                    <a:pt x="396" y="17"/>
                  </a:lnTo>
                  <a:lnTo>
                    <a:pt x="415" y="11"/>
                  </a:lnTo>
                  <a:lnTo>
                    <a:pt x="436" y="6"/>
                  </a:lnTo>
                  <a:lnTo>
                    <a:pt x="457" y="3"/>
                  </a:lnTo>
                  <a:lnTo>
                    <a:pt x="480" y="0"/>
                  </a:lnTo>
                  <a:lnTo>
                    <a:pt x="501" y="0"/>
                  </a:lnTo>
                  <a:lnTo>
                    <a:pt x="501" y="0"/>
                  </a:lnTo>
                  <a:lnTo>
                    <a:pt x="522" y="1"/>
                  </a:lnTo>
                  <a:lnTo>
                    <a:pt x="543" y="3"/>
                  </a:lnTo>
                  <a:lnTo>
                    <a:pt x="563" y="8"/>
                  </a:lnTo>
                  <a:lnTo>
                    <a:pt x="583" y="13"/>
                  </a:lnTo>
                  <a:lnTo>
                    <a:pt x="583" y="233"/>
                  </a:lnTo>
                  <a:lnTo>
                    <a:pt x="583" y="233"/>
                  </a:lnTo>
                  <a:lnTo>
                    <a:pt x="555" y="226"/>
                  </a:lnTo>
                  <a:lnTo>
                    <a:pt x="528" y="221"/>
                  </a:lnTo>
                  <a:lnTo>
                    <a:pt x="500" y="218"/>
                  </a:lnTo>
                  <a:lnTo>
                    <a:pt x="486" y="217"/>
                  </a:lnTo>
                  <a:lnTo>
                    <a:pt x="473" y="216"/>
                  </a:lnTo>
                  <a:lnTo>
                    <a:pt x="473" y="216"/>
                  </a:lnTo>
                  <a:lnTo>
                    <a:pt x="453" y="217"/>
                  </a:lnTo>
                  <a:lnTo>
                    <a:pt x="435" y="218"/>
                  </a:lnTo>
                  <a:lnTo>
                    <a:pt x="418" y="221"/>
                  </a:lnTo>
                  <a:lnTo>
                    <a:pt x="400" y="224"/>
                  </a:lnTo>
                  <a:lnTo>
                    <a:pt x="385" y="228"/>
                  </a:lnTo>
                  <a:lnTo>
                    <a:pt x="371" y="233"/>
                  </a:lnTo>
                  <a:lnTo>
                    <a:pt x="356" y="238"/>
                  </a:lnTo>
                  <a:lnTo>
                    <a:pt x="344" y="245"/>
                  </a:lnTo>
                  <a:lnTo>
                    <a:pt x="332" y="252"/>
                  </a:lnTo>
                  <a:lnTo>
                    <a:pt x="321" y="260"/>
                  </a:lnTo>
                  <a:lnTo>
                    <a:pt x="311" y="268"/>
                  </a:lnTo>
                  <a:lnTo>
                    <a:pt x="301" y="276"/>
                  </a:lnTo>
                  <a:lnTo>
                    <a:pt x="292" y="284"/>
                  </a:lnTo>
                  <a:lnTo>
                    <a:pt x="284" y="293"/>
                  </a:lnTo>
                  <a:lnTo>
                    <a:pt x="277" y="302"/>
                  </a:lnTo>
                  <a:lnTo>
                    <a:pt x="270" y="313"/>
                  </a:lnTo>
                  <a:lnTo>
                    <a:pt x="259" y="332"/>
                  </a:lnTo>
                  <a:lnTo>
                    <a:pt x="248" y="351"/>
                  </a:lnTo>
                  <a:lnTo>
                    <a:pt x="241" y="371"/>
                  </a:lnTo>
                  <a:lnTo>
                    <a:pt x="236" y="389"/>
                  </a:lnTo>
                  <a:lnTo>
                    <a:pt x="232" y="406"/>
                  </a:lnTo>
                  <a:lnTo>
                    <a:pt x="230" y="422"/>
                  </a:lnTo>
                  <a:lnTo>
                    <a:pt x="228" y="435"/>
                  </a:lnTo>
                  <a:lnTo>
                    <a:pt x="228" y="446"/>
                  </a:lnTo>
                  <a:lnTo>
                    <a:pt x="228" y="933"/>
                  </a:lnTo>
                  <a:lnTo>
                    <a:pt x="0" y="933"/>
                  </a:lnTo>
                  <a:lnTo>
                    <a:pt x="0" y="22"/>
                  </a:lnTo>
                  <a:close/>
                </a:path>
              </a:pathLst>
            </a:custGeom>
            <a:solidFill>
              <a:srgbClr val="60606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606060"/>
                </a:solidFill>
              </a:endParaRPr>
            </a:p>
          </p:txBody>
        </p:sp>
        <p:sp>
          <p:nvSpPr>
            <p:cNvPr id="29" name="Freeform 33"/>
            <p:cNvSpPr>
              <a:spLocks noEditPoints="1"/>
            </p:cNvSpPr>
            <p:nvPr/>
          </p:nvSpPr>
          <p:spPr bwMode="auto">
            <a:xfrm>
              <a:off x="6550025" y="5346700"/>
              <a:ext cx="781050" cy="1101725"/>
            </a:xfrm>
            <a:custGeom>
              <a:avLst/>
              <a:gdLst/>
              <a:ahLst/>
              <a:cxnLst>
                <a:cxn ang="0">
                  <a:pos x="735" y="120"/>
                </a:cxn>
                <a:cxn ang="0">
                  <a:pos x="629" y="38"/>
                </a:cxn>
                <a:cxn ang="0">
                  <a:pos x="497" y="2"/>
                </a:cxn>
                <a:cxn ang="0">
                  <a:pos x="374" y="5"/>
                </a:cxn>
                <a:cxn ang="0">
                  <a:pos x="240" y="46"/>
                </a:cxn>
                <a:cxn ang="0">
                  <a:pos x="134" y="122"/>
                </a:cxn>
                <a:cxn ang="0">
                  <a:pos x="58" y="227"/>
                </a:cxn>
                <a:cxn ang="0">
                  <a:pos x="12" y="356"/>
                </a:cxn>
                <a:cxn ang="0">
                  <a:pos x="0" y="478"/>
                </a:cxn>
                <a:cxn ang="0">
                  <a:pos x="18" y="616"/>
                </a:cxn>
                <a:cxn ang="0">
                  <a:pos x="71" y="738"/>
                </a:cxn>
                <a:cxn ang="0">
                  <a:pos x="156" y="838"/>
                </a:cxn>
                <a:cxn ang="0">
                  <a:pos x="268" y="907"/>
                </a:cxn>
                <a:cxn ang="0">
                  <a:pos x="403" y="942"/>
                </a:cxn>
                <a:cxn ang="0">
                  <a:pos x="517" y="940"/>
                </a:cxn>
                <a:cxn ang="0">
                  <a:pos x="640" y="902"/>
                </a:cxn>
                <a:cxn ang="0">
                  <a:pos x="738" y="828"/>
                </a:cxn>
                <a:cxn ang="0">
                  <a:pos x="752" y="943"/>
                </a:cxn>
                <a:cxn ang="0">
                  <a:pos x="722" y="1054"/>
                </a:cxn>
                <a:cxn ang="0">
                  <a:pos x="675" y="1117"/>
                </a:cxn>
                <a:cxn ang="0">
                  <a:pos x="605" y="1161"/>
                </a:cxn>
                <a:cxn ang="0">
                  <a:pos x="506" y="1182"/>
                </a:cxn>
                <a:cxn ang="0">
                  <a:pos x="398" y="1178"/>
                </a:cxn>
                <a:cxn ang="0">
                  <a:pos x="278" y="1141"/>
                </a:cxn>
                <a:cxn ang="0">
                  <a:pos x="171" y="1067"/>
                </a:cxn>
                <a:cxn ang="0">
                  <a:pos x="93" y="1294"/>
                </a:cxn>
                <a:cxn ang="0">
                  <a:pos x="257" y="1364"/>
                </a:cxn>
                <a:cxn ang="0">
                  <a:pos x="437" y="1388"/>
                </a:cxn>
                <a:cxn ang="0">
                  <a:pos x="593" y="1379"/>
                </a:cxn>
                <a:cxn ang="0">
                  <a:pos x="746" y="1330"/>
                </a:cxn>
                <a:cxn ang="0">
                  <a:pos x="859" y="1242"/>
                </a:cxn>
                <a:cxn ang="0">
                  <a:pos x="935" y="1121"/>
                </a:cxn>
                <a:cxn ang="0">
                  <a:pos x="976" y="968"/>
                </a:cxn>
                <a:cxn ang="0">
                  <a:pos x="767" y="22"/>
                </a:cxn>
                <a:cxn ang="0">
                  <a:pos x="440" y="734"/>
                </a:cxn>
                <a:cxn ang="0">
                  <a:pos x="366" y="708"/>
                </a:cxn>
                <a:cxn ang="0">
                  <a:pos x="303" y="662"/>
                </a:cxn>
                <a:cxn ang="0">
                  <a:pos x="259" y="601"/>
                </a:cxn>
                <a:cxn ang="0">
                  <a:pos x="233" y="529"/>
                </a:cxn>
                <a:cxn ang="0">
                  <a:pos x="228" y="461"/>
                </a:cxn>
                <a:cxn ang="0">
                  <a:pos x="243" y="378"/>
                </a:cxn>
                <a:cxn ang="0">
                  <a:pos x="278" y="309"/>
                </a:cxn>
                <a:cxn ang="0">
                  <a:pos x="332" y="256"/>
                </a:cxn>
                <a:cxn ang="0">
                  <a:pos x="400" y="220"/>
                </a:cxn>
                <a:cxn ang="0">
                  <a:pos x="483" y="205"/>
                </a:cxn>
                <a:cxn ang="0">
                  <a:pos x="556" y="210"/>
                </a:cxn>
                <a:cxn ang="0">
                  <a:pos x="633" y="235"/>
                </a:cxn>
                <a:cxn ang="0">
                  <a:pos x="694" y="279"/>
                </a:cxn>
                <a:cxn ang="0">
                  <a:pos x="737" y="340"/>
                </a:cxn>
                <a:cxn ang="0">
                  <a:pos x="762" y="415"/>
                </a:cxn>
                <a:cxn ang="0">
                  <a:pos x="765" y="500"/>
                </a:cxn>
                <a:cxn ang="0">
                  <a:pos x="744" y="590"/>
                </a:cxn>
                <a:cxn ang="0">
                  <a:pos x="703" y="654"/>
                </a:cxn>
                <a:cxn ang="0">
                  <a:pos x="645" y="702"/>
                </a:cxn>
                <a:cxn ang="0">
                  <a:pos x="569" y="731"/>
                </a:cxn>
                <a:cxn ang="0">
                  <a:pos x="495" y="739"/>
                </a:cxn>
              </a:cxnLst>
              <a:rect l="0" t="0" r="r" b="b"/>
              <a:pathLst>
                <a:path w="983" h="1388">
                  <a:moveTo>
                    <a:pt x="767" y="22"/>
                  </a:moveTo>
                  <a:lnTo>
                    <a:pt x="767" y="159"/>
                  </a:lnTo>
                  <a:lnTo>
                    <a:pt x="763" y="159"/>
                  </a:lnTo>
                  <a:lnTo>
                    <a:pt x="763" y="159"/>
                  </a:lnTo>
                  <a:lnTo>
                    <a:pt x="750" y="139"/>
                  </a:lnTo>
                  <a:lnTo>
                    <a:pt x="735" y="120"/>
                  </a:lnTo>
                  <a:lnTo>
                    <a:pt x="720" y="104"/>
                  </a:lnTo>
                  <a:lnTo>
                    <a:pt x="704" y="88"/>
                  </a:lnTo>
                  <a:lnTo>
                    <a:pt x="687" y="73"/>
                  </a:lnTo>
                  <a:lnTo>
                    <a:pt x="668" y="60"/>
                  </a:lnTo>
                  <a:lnTo>
                    <a:pt x="649" y="49"/>
                  </a:lnTo>
                  <a:lnTo>
                    <a:pt x="629" y="38"/>
                  </a:lnTo>
                  <a:lnTo>
                    <a:pt x="609" y="28"/>
                  </a:lnTo>
                  <a:lnTo>
                    <a:pt x="588" y="21"/>
                  </a:lnTo>
                  <a:lnTo>
                    <a:pt x="565" y="14"/>
                  </a:lnTo>
                  <a:lnTo>
                    <a:pt x="543" y="9"/>
                  </a:lnTo>
                  <a:lnTo>
                    <a:pt x="520" y="5"/>
                  </a:lnTo>
                  <a:lnTo>
                    <a:pt x="497" y="2"/>
                  </a:lnTo>
                  <a:lnTo>
                    <a:pt x="474" y="0"/>
                  </a:lnTo>
                  <a:lnTo>
                    <a:pt x="450" y="0"/>
                  </a:lnTo>
                  <a:lnTo>
                    <a:pt x="450" y="0"/>
                  </a:lnTo>
                  <a:lnTo>
                    <a:pt x="424" y="0"/>
                  </a:lnTo>
                  <a:lnTo>
                    <a:pt x="398" y="2"/>
                  </a:lnTo>
                  <a:lnTo>
                    <a:pt x="374" y="5"/>
                  </a:lnTo>
                  <a:lnTo>
                    <a:pt x="350" y="9"/>
                  </a:lnTo>
                  <a:lnTo>
                    <a:pt x="327" y="14"/>
                  </a:lnTo>
                  <a:lnTo>
                    <a:pt x="304" y="20"/>
                  </a:lnTo>
                  <a:lnTo>
                    <a:pt x="282" y="28"/>
                  </a:lnTo>
                  <a:lnTo>
                    <a:pt x="261" y="37"/>
                  </a:lnTo>
                  <a:lnTo>
                    <a:pt x="240" y="46"/>
                  </a:lnTo>
                  <a:lnTo>
                    <a:pt x="221" y="56"/>
                  </a:lnTo>
                  <a:lnTo>
                    <a:pt x="203" y="68"/>
                  </a:lnTo>
                  <a:lnTo>
                    <a:pt x="184" y="80"/>
                  </a:lnTo>
                  <a:lnTo>
                    <a:pt x="167" y="93"/>
                  </a:lnTo>
                  <a:lnTo>
                    <a:pt x="151" y="107"/>
                  </a:lnTo>
                  <a:lnTo>
                    <a:pt x="134" y="122"/>
                  </a:lnTo>
                  <a:lnTo>
                    <a:pt x="120" y="137"/>
                  </a:lnTo>
                  <a:lnTo>
                    <a:pt x="106" y="154"/>
                  </a:lnTo>
                  <a:lnTo>
                    <a:pt x="93" y="171"/>
                  </a:lnTo>
                  <a:lnTo>
                    <a:pt x="80" y="189"/>
                  </a:lnTo>
                  <a:lnTo>
                    <a:pt x="68" y="208"/>
                  </a:lnTo>
                  <a:lnTo>
                    <a:pt x="58" y="227"/>
                  </a:lnTo>
                  <a:lnTo>
                    <a:pt x="48" y="247"/>
                  </a:lnTo>
                  <a:lnTo>
                    <a:pt x="39" y="268"/>
                  </a:lnTo>
                  <a:lnTo>
                    <a:pt x="30" y="289"/>
                  </a:lnTo>
                  <a:lnTo>
                    <a:pt x="23" y="312"/>
                  </a:lnTo>
                  <a:lnTo>
                    <a:pt x="17" y="334"/>
                  </a:lnTo>
                  <a:lnTo>
                    <a:pt x="12" y="356"/>
                  </a:lnTo>
                  <a:lnTo>
                    <a:pt x="8" y="380"/>
                  </a:lnTo>
                  <a:lnTo>
                    <a:pt x="5" y="403"/>
                  </a:lnTo>
                  <a:lnTo>
                    <a:pt x="2" y="428"/>
                  </a:lnTo>
                  <a:lnTo>
                    <a:pt x="1" y="452"/>
                  </a:lnTo>
                  <a:lnTo>
                    <a:pt x="0" y="478"/>
                  </a:lnTo>
                  <a:lnTo>
                    <a:pt x="0" y="478"/>
                  </a:lnTo>
                  <a:lnTo>
                    <a:pt x="1" y="502"/>
                  </a:lnTo>
                  <a:lnTo>
                    <a:pt x="2" y="525"/>
                  </a:lnTo>
                  <a:lnTo>
                    <a:pt x="5" y="549"/>
                  </a:lnTo>
                  <a:lnTo>
                    <a:pt x="8" y="571"/>
                  </a:lnTo>
                  <a:lnTo>
                    <a:pt x="13" y="595"/>
                  </a:lnTo>
                  <a:lnTo>
                    <a:pt x="18" y="616"/>
                  </a:lnTo>
                  <a:lnTo>
                    <a:pt x="25" y="638"/>
                  </a:lnTo>
                  <a:lnTo>
                    <a:pt x="32" y="659"/>
                  </a:lnTo>
                  <a:lnTo>
                    <a:pt x="41" y="680"/>
                  </a:lnTo>
                  <a:lnTo>
                    <a:pt x="50" y="701"/>
                  </a:lnTo>
                  <a:lnTo>
                    <a:pt x="60" y="720"/>
                  </a:lnTo>
                  <a:lnTo>
                    <a:pt x="71" y="738"/>
                  </a:lnTo>
                  <a:lnTo>
                    <a:pt x="83" y="757"/>
                  </a:lnTo>
                  <a:lnTo>
                    <a:pt x="97" y="775"/>
                  </a:lnTo>
                  <a:lnTo>
                    <a:pt x="110" y="791"/>
                  </a:lnTo>
                  <a:lnTo>
                    <a:pt x="124" y="808"/>
                  </a:lnTo>
                  <a:lnTo>
                    <a:pt x="139" y="823"/>
                  </a:lnTo>
                  <a:lnTo>
                    <a:pt x="156" y="838"/>
                  </a:lnTo>
                  <a:lnTo>
                    <a:pt x="172" y="851"/>
                  </a:lnTo>
                  <a:lnTo>
                    <a:pt x="190" y="865"/>
                  </a:lnTo>
                  <a:lnTo>
                    <a:pt x="209" y="877"/>
                  </a:lnTo>
                  <a:lnTo>
                    <a:pt x="227" y="888"/>
                  </a:lnTo>
                  <a:lnTo>
                    <a:pt x="247" y="898"/>
                  </a:lnTo>
                  <a:lnTo>
                    <a:pt x="268" y="907"/>
                  </a:lnTo>
                  <a:lnTo>
                    <a:pt x="288" y="916"/>
                  </a:lnTo>
                  <a:lnTo>
                    <a:pt x="311" y="924"/>
                  </a:lnTo>
                  <a:lnTo>
                    <a:pt x="333" y="930"/>
                  </a:lnTo>
                  <a:lnTo>
                    <a:pt x="355" y="935"/>
                  </a:lnTo>
                  <a:lnTo>
                    <a:pt x="379" y="939"/>
                  </a:lnTo>
                  <a:lnTo>
                    <a:pt x="403" y="942"/>
                  </a:lnTo>
                  <a:lnTo>
                    <a:pt x="429" y="944"/>
                  </a:lnTo>
                  <a:lnTo>
                    <a:pt x="453" y="944"/>
                  </a:lnTo>
                  <a:lnTo>
                    <a:pt x="453" y="944"/>
                  </a:lnTo>
                  <a:lnTo>
                    <a:pt x="475" y="944"/>
                  </a:lnTo>
                  <a:lnTo>
                    <a:pt x="496" y="942"/>
                  </a:lnTo>
                  <a:lnTo>
                    <a:pt x="517" y="940"/>
                  </a:lnTo>
                  <a:lnTo>
                    <a:pt x="539" y="936"/>
                  </a:lnTo>
                  <a:lnTo>
                    <a:pt x="560" y="932"/>
                  </a:lnTo>
                  <a:lnTo>
                    <a:pt x="581" y="926"/>
                  </a:lnTo>
                  <a:lnTo>
                    <a:pt x="601" y="920"/>
                  </a:lnTo>
                  <a:lnTo>
                    <a:pt x="620" y="911"/>
                  </a:lnTo>
                  <a:lnTo>
                    <a:pt x="640" y="902"/>
                  </a:lnTo>
                  <a:lnTo>
                    <a:pt x="658" y="893"/>
                  </a:lnTo>
                  <a:lnTo>
                    <a:pt x="676" y="882"/>
                  </a:lnTo>
                  <a:lnTo>
                    <a:pt x="693" y="870"/>
                  </a:lnTo>
                  <a:lnTo>
                    <a:pt x="709" y="857"/>
                  </a:lnTo>
                  <a:lnTo>
                    <a:pt x="724" y="843"/>
                  </a:lnTo>
                  <a:lnTo>
                    <a:pt x="738" y="828"/>
                  </a:lnTo>
                  <a:lnTo>
                    <a:pt x="752" y="812"/>
                  </a:lnTo>
                  <a:lnTo>
                    <a:pt x="756" y="812"/>
                  </a:lnTo>
                  <a:lnTo>
                    <a:pt x="756" y="878"/>
                  </a:lnTo>
                  <a:lnTo>
                    <a:pt x="756" y="878"/>
                  </a:lnTo>
                  <a:lnTo>
                    <a:pt x="755" y="911"/>
                  </a:lnTo>
                  <a:lnTo>
                    <a:pt x="752" y="943"/>
                  </a:lnTo>
                  <a:lnTo>
                    <a:pt x="748" y="974"/>
                  </a:lnTo>
                  <a:lnTo>
                    <a:pt x="742" y="1002"/>
                  </a:lnTo>
                  <a:lnTo>
                    <a:pt x="737" y="1015"/>
                  </a:lnTo>
                  <a:lnTo>
                    <a:pt x="732" y="1029"/>
                  </a:lnTo>
                  <a:lnTo>
                    <a:pt x="727" y="1042"/>
                  </a:lnTo>
                  <a:lnTo>
                    <a:pt x="722" y="1054"/>
                  </a:lnTo>
                  <a:lnTo>
                    <a:pt x="716" y="1066"/>
                  </a:lnTo>
                  <a:lnTo>
                    <a:pt x="709" y="1077"/>
                  </a:lnTo>
                  <a:lnTo>
                    <a:pt x="702" y="1088"/>
                  </a:lnTo>
                  <a:lnTo>
                    <a:pt x="694" y="1099"/>
                  </a:lnTo>
                  <a:lnTo>
                    <a:pt x="685" y="1108"/>
                  </a:lnTo>
                  <a:lnTo>
                    <a:pt x="675" y="1117"/>
                  </a:lnTo>
                  <a:lnTo>
                    <a:pt x="666" y="1126"/>
                  </a:lnTo>
                  <a:lnTo>
                    <a:pt x="655" y="1134"/>
                  </a:lnTo>
                  <a:lnTo>
                    <a:pt x="644" y="1142"/>
                  </a:lnTo>
                  <a:lnTo>
                    <a:pt x="631" y="1149"/>
                  </a:lnTo>
                  <a:lnTo>
                    <a:pt x="618" y="1155"/>
                  </a:lnTo>
                  <a:lnTo>
                    <a:pt x="605" y="1161"/>
                  </a:lnTo>
                  <a:lnTo>
                    <a:pt x="591" y="1166"/>
                  </a:lnTo>
                  <a:lnTo>
                    <a:pt x="575" y="1170"/>
                  </a:lnTo>
                  <a:lnTo>
                    <a:pt x="559" y="1174"/>
                  </a:lnTo>
                  <a:lnTo>
                    <a:pt x="543" y="1177"/>
                  </a:lnTo>
                  <a:lnTo>
                    <a:pt x="525" y="1180"/>
                  </a:lnTo>
                  <a:lnTo>
                    <a:pt x="506" y="1182"/>
                  </a:lnTo>
                  <a:lnTo>
                    <a:pt x="487" y="1183"/>
                  </a:lnTo>
                  <a:lnTo>
                    <a:pt x="467" y="1183"/>
                  </a:lnTo>
                  <a:lnTo>
                    <a:pt x="467" y="1183"/>
                  </a:lnTo>
                  <a:lnTo>
                    <a:pt x="443" y="1182"/>
                  </a:lnTo>
                  <a:lnTo>
                    <a:pt x="421" y="1181"/>
                  </a:lnTo>
                  <a:lnTo>
                    <a:pt x="398" y="1178"/>
                  </a:lnTo>
                  <a:lnTo>
                    <a:pt x="377" y="1174"/>
                  </a:lnTo>
                  <a:lnTo>
                    <a:pt x="356" y="1170"/>
                  </a:lnTo>
                  <a:lnTo>
                    <a:pt x="336" y="1164"/>
                  </a:lnTo>
                  <a:lnTo>
                    <a:pt x="316" y="1157"/>
                  </a:lnTo>
                  <a:lnTo>
                    <a:pt x="296" y="1149"/>
                  </a:lnTo>
                  <a:lnTo>
                    <a:pt x="278" y="1141"/>
                  </a:lnTo>
                  <a:lnTo>
                    <a:pt x="260" y="1130"/>
                  </a:lnTo>
                  <a:lnTo>
                    <a:pt x="241" y="1120"/>
                  </a:lnTo>
                  <a:lnTo>
                    <a:pt x="223" y="1108"/>
                  </a:lnTo>
                  <a:lnTo>
                    <a:pt x="206" y="1096"/>
                  </a:lnTo>
                  <a:lnTo>
                    <a:pt x="188" y="1082"/>
                  </a:lnTo>
                  <a:lnTo>
                    <a:pt x="171" y="1067"/>
                  </a:lnTo>
                  <a:lnTo>
                    <a:pt x="154" y="1052"/>
                  </a:lnTo>
                  <a:lnTo>
                    <a:pt x="17" y="1238"/>
                  </a:lnTo>
                  <a:lnTo>
                    <a:pt x="17" y="1238"/>
                  </a:lnTo>
                  <a:lnTo>
                    <a:pt x="42" y="1259"/>
                  </a:lnTo>
                  <a:lnTo>
                    <a:pt x="67" y="1277"/>
                  </a:lnTo>
                  <a:lnTo>
                    <a:pt x="93" y="1294"/>
                  </a:lnTo>
                  <a:lnTo>
                    <a:pt x="118" y="1310"/>
                  </a:lnTo>
                  <a:lnTo>
                    <a:pt x="144" y="1324"/>
                  </a:lnTo>
                  <a:lnTo>
                    <a:pt x="172" y="1336"/>
                  </a:lnTo>
                  <a:lnTo>
                    <a:pt x="200" y="1346"/>
                  </a:lnTo>
                  <a:lnTo>
                    <a:pt x="228" y="1356"/>
                  </a:lnTo>
                  <a:lnTo>
                    <a:pt x="257" y="1364"/>
                  </a:lnTo>
                  <a:lnTo>
                    <a:pt x="286" y="1371"/>
                  </a:lnTo>
                  <a:lnTo>
                    <a:pt x="316" y="1377"/>
                  </a:lnTo>
                  <a:lnTo>
                    <a:pt x="345" y="1381"/>
                  </a:lnTo>
                  <a:lnTo>
                    <a:pt x="376" y="1384"/>
                  </a:lnTo>
                  <a:lnTo>
                    <a:pt x="406" y="1387"/>
                  </a:lnTo>
                  <a:lnTo>
                    <a:pt x="437" y="1388"/>
                  </a:lnTo>
                  <a:lnTo>
                    <a:pt x="468" y="1388"/>
                  </a:lnTo>
                  <a:lnTo>
                    <a:pt x="468" y="1388"/>
                  </a:lnTo>
                  <a:lnTo>
                    <a:pt x="501" y="1388"/>
                  </a:lnTo>
                  <a:lnTo>
                    <a:pt x="533" y="1386"/>
                  </a:lnTo>
                  <a:lnTo>
                    <a:pt x="563" y="1383"/>
                  </a:lnTo>
                  <a:lnTo>
                    <a:pt x="593" y="1379"/>
                  </a:lnTo>
                  <a:lnTo>
                    <a:pt x="621" y="1374"/>
                  </a:lnTo>
                  <a:lnTo>
                    <a:pt x="648" y="1367"/>
                  </a:lnTo>
                  <a:lnTo>
                    <a:pt x="674" y="1359"/>
                  </a:lnTo>
                  <a:lnTo>
                    <a:pt x="699" y="1350"/>
                  </a:lnTo>
                  <a:lnTo>
                    <a:pt x="722" y="1341"/>
                  </a:lnTo>
                  <a:lnTo>
                    <a:pt x="746" y="1330"/>
                  </a:lnTo>
                  <a:lnTo>
                    <a:pt x="767" y="1318"/>
                  </a:lnTo>
                  <a:lnTo>
                    <a:pt x="787" y="1304"/>
                  </a:lnTo>
                  <a:lnTo>
                    <a:pt x="807" y="1291"/>
                  </a:lnTo>
                  <a:lnTo>
                    <a:pt x="825" y="1276"/>
                  </a:lnTo>
                  <a:lnTo>
                    <a:pt x="842" y="1260"/>
                  </a:lnTo>
                  <a:lnTo>
                    <a:pt x="859" y="1242"/>
                  </a:lnTo>
                  <a:lnTo>
                    <a:pt x="874" y="1225"/>
                  </a:lnTo>
                  <a:lnTo>
                    <a:pt x="888" y="1206"/>
                  </a:lnTo>
                  <a:lnTo>
                    <a:pt x="901" y="1186"/>
                  </a:lnTo>
                  <a:lnTo>
                    <a:pt x="914" y="1165"/>
                  </a:lnTo>
                  <a:lnTo>
                    <a:pt x="925" y="1144"/>
                  </a:lnTo>
                  <a:lnTo>
                    <a:pt x="935" y="1121"/>
                  </a:lnTo>
                  <a:lnTo>
                    <a:pt x="944" y="1098"/>
                  </a:lnTo>
                  <a:lnTo>
                    <a:pt x="952" y="1073"/>
                  </a:lnTo>
                  <a:lnTo>
                    <a:pt x="960" y="1049"/>
                  </a:lnTo>
                  <a:lnTo>
                    <a:pt x="966" y="1022"/>
                  </a:lnTo>
                  <a:lnTo>
                    <a:pt x="971" y="996"/>
                  </a:lnTo>
                  <a:lnTo>
                    <a:pt x="976" y="968"/>
                  </a:lnTo>
                  <a:lnTo>
                    <a:pt x="979" y="941"/>
                  </a:lnTo>
                  <a:lnTo>
                    <a:pt x="981" y="911"/>
                  </a:lnTo>
                  <a:lnTo>
                    <a:pt x="983" y="882"/>
                  </a:lnTo>
                  <a:lnTo>
                    <a:pt x="983" y="851"/>
                  </a:lnTo>
                  <a:lnTo>
                    <a:pt x="983" y="22"/>
                  </a:lnTo>
                  <a:lnTo>
                    <a:pt x="767" y="22"/>
                  </a:lnTo>
                  <a:close/>
                  <a:moveTo>
                    <a:pt x="495" y="739"/>
                  </a:moveTo>
                  <a:lnTo>
                    <a:pt x="495" y="739"/>
                  </a:lnTo>
                  <a:lnTo>
                    <a:pt x="481" y="739"/>
                  </a:lnTo>
                  <a:lnTo>
                    <a:pt x="467" y="738"/>
                  </a:lnTo>
                  <a:lnTo>
                    <a:pt x="453" y="736"/>
                  </a:lnTo>
                  <a:lnTo>
                    <a:pt x="440" y="734"/>
                  </a:lnTo>
                  <a:lnTo>
                    <a:pt x="427" y="731"/>
                  </a:lnTo>
                  <a:lnTo>
                    <a:pt x="413" y="727"/>
                  </a:lnTo>
                  <a:lnTo>
                    <a:pt x="401" y="723"/>
                  </a:lnTo>
                  <a:lnTo>
                    <a:pt x="389" y="719"/>
                  </a:lnTo>
                  <a:lnTo>
                    <a:pt x="377" y="713"/>
                  </a:lnTo>
                  <a:lnTo>
                    <a:pt x="366" y="708"/>
                  </a:lnTo>
                  <a:lnTo>
                    <a:pt x="354" y="701"/>
                  </a:lnTo>
                  <a:lnTo>
                    <a:pt x="343" y="694"/>
                  </a:lnTo>
                  <a:lnTo>
                    <a:pt x="333" y="686"/>
                  </a:lnTo>
                  <a:lnTo>
                    <a:pt x="323" y="679"/>
                  </a:lnTo>
                  <a:lnTo>
                    <a:pt x="313" y="670"/>
                  </a:lnTo>
                  <a:lnTo>
                    <a:pt x="303" y="662"/>
                  </a:lnTo>
                  <a:lnTo>
                    <a:pt x="295" y="653"/>
                  </a:lnTo>
                  <a:lnTo>
                    <a:pt x="287" y="643"/>
                  </a:lnTo>
                  <a:lnTo>
                    <a:pt x="279" y="633"/>
                  </a:lnTo>
                  <a:lnTo>
                    <a:pt x="272" y="622"/>
                  </a:lnTo>
                  <a:lnTo>
                    <a:pt x="265" y="612"/>
                  </a:lnTo>
                  <a:lnTo>
                    <a:pt x="259" y="601"/>
                  </a:lnTo>
                  <a:lnTo>
                    <a:pt x="254" y="590"/>
                  </a:lnTo>
                  <a:lnTo>
                    <a:pt x="248" y="577"/>
                  </a:lnTo>
                  <a:lnTo>
                    <a:pt x="243" y="566"/>
                  </a:lnTo>
                  <a:lnTo>
                    <a:pt x="239" y="554"/>
                  </a:lnTo>
                  <a:lnTo>
                    <a:pt x="236" y="542"/>
                  </a:lnTo>
                  <a:lnTo>
                    <a:pt x="233" y="529"/>
                  </a:lnTo>
                  <a:lnTo>
                    <a:pt x="231" y="515"/>
                  </a:lnTo>
                  <a:lnTo>
                    <a:pt x="229" y="503"/>
                  </a:lnTo>
                  <a:lnTo>
                    <a:pt x="228" y="490"/>
                  </a:lnTo>
                  <a:lnTo>
                    <a:pt x="228" y="476"/>
                  </a:lnTo>
                  <a:lnTo>
                    <a:pt x="228" y="476"/>
                  </a:lnTo>
                  <a:lnTo>
                    <a:pt x="228" y="461"/>
                  </a:lnTo>
                  <a:lnTo>
                    <a:pt x="229" y="446"/>
                  </a:lnTo>
                  <a:lnTo>
                    <a:pt x="231" y="432"/>
                  </a:lnTo>
                  <a:lnTo>
                    <a:pt x="233" y="417"/>
                  </a:lnTo>
                  <a:lnTo>
                    <a:pt x="235" y="404"/>
                  </a:lnTo>
                  <a:lnTo>
                    <a:pt x="239" y="391"/>
                  </a:lnTo>
                  <a:lnTo>
                    <a:pt x="243" y="378"/>
                  </a:lnTo>
                  <a:lnTo>
                    <a:pt x="247" y="366"/>
                  </a:lnTo>
                  <a:lnTo>
                    <a:pt x="252" y="353"/>
                  </a:lnTo>
                  <a:lnTo>
                    <a:pt x="259" y="341"/>
                  </a:lnTo>
                  <a:lnTo>
                    <a:pt x="265" y="330"/>
                  </a:lnTo>
                  <a:lnTo>
                    <a:pt x="271" y="319"/>
                  </a:lnTo>
                  <a:lnTo>
                    <a:pt x="278" y="309"/>
                  </a:lnTo>
                  <a:lnTo>
                    <a:pt x="286" y="298"/>
                  </a:lnTo>
                  <a:lnTo>
                    <a:pt x="294" y="289"/>
                  </a:lnTo>
                  <a:lnTo>
                    <a:pt x="302" y="280"/>
                  </a:lnTo>
                  <a:lnTo>
                    <a:pt x="312" y="271"/>
                  </a:lnTo>
                  <a:lnTo>
                    <a:pt x="322" y="263"/>
                  </a:lnTo>
                  <a:lnTo>
                    <a:pt x="332" y="256"/>
                  </a:lnTo>
                  <a:lnTo>
                    <a:pt x="342" y="247"/>
                  </a:lnTo>
                  <a:lnTo>
                    <a:pt x="353" y="241"/>
                  </a:lnTo>
                  <a:lnTo>
                    <a:pt x="365" y="235"/>
                  </a:lnTo>
                  <a:lnTo>
                    <a:pt x="376" y="229"/>
                  </a:lnTo>
                  <a:lnTo>
                    <a:pt x="388" y="224"/>
                  </a:lnTo>
                  <a:lnTo>
                    <a:pt x="400" y="220"/>
                  </a:lnTo>
                  <a:lnTo>
                    <a:pt x="413" y="216"/>
                  </a:lnTo>
                  <a:lnTo>
                    <a:pt x="427" y="213"/>
                  </a:lnTo>
                  <a:lnTo>
                    <a:pt x="440" y="210"/>
                  </a:lnTo>
                  <a:lnTo>
                    <a:pt x="454" y="208"/>
                  </a:lnTo>
                  <a:lnTo>
                    <a:pt x="468" y="206"/>
                  </a:lnTo>
                  <a:lnTo>
                    <a:pt x="483" y="205"/>
                  </a:lnTo>
                  <a:lnTo>
                    <a:pt x="497" y="205"/>
                  </a:lnTo>
                  <a:lnTo>
                    <a:pt x="497" y="205"/>
                  </a:lnTo>
                  <a:lnTo>
                    <a:pt x="512" y="205"/>
                  </a:lnTo>
                  <a:lnTo>
                    <a:pt x="528" y="206"/>
                  </a:lnTo>
                  <a:lnTo>
                    <a:pt x="542" y="208"/>
                  </a:lnTo>
                  <a:lnTo>
                    <a:pt x="556" y="210"/>
                  </a:lnTo>
                  <a:lnTo>
                    <a:pt x="570" y="213"/>
                  </a:lnTo>
                  <a:lnTo>
                    <a:pt x="584" y="216"/>
                  </a:lnTo>
                  <a:lnTo>
                    <a:pt x="597" y="220"/>
                  </a:lnTo>
                  <a:lnTo>
                    <a:pt x="609" y="224"/>
                  </a:lnTo>
                  <a:lnTo>
                    <a:pt x="621" y="229"/>
                  </a:lnTo>
                  <a:lnTo>
                    <a:pt x="633" y="235"/>
                  </a:lnTo>
                  <a:lnTo>
                    <a:pt x="644" y="241"/>
                  </a:lnTo>
                  <a:lnTo>
                    <a:pt x="655" y="247"/>
                  </a:lnTo>
                  <a:lnTo>
                    <a:pt x="665" y="255"/>
                  </a:lnTo>
                  <a:lnTo>
                    <a:pt x="675" y="263"/>
                  </a:lnTo>
                  <a:lnTo>
                    <a:pt x="684" y="271"/>
                  </a:lnTo>
                  <a:lnTo>
                    <a:pt x="694" y="279"/>
                  </a:lnTo>
                  <a:lnTo>
                    <a:pt x="703" y="288"/>
                  </a:lnTo>
                  <a:lnTo>
                    <a:pt x="710" y="298"/>
                  </a:lnTo>
                  <a:lnTo>
                    <a:pt x="718" y="308"/>
                  </a:lnTo>
                  <a:lnTo>
                    <a:pt x="725" y="318"/>
                  </a:lnTo>
                  <a:lnTo>
                    <a:pt x="731" y="329"/>
                  </a:lnTo>
                  <a:lnTo>
                    <a:pt x="737" y="340"/>
                  </a:lnTo>
                  <a:lnTo>
                    <a:pt x="743" y="351"/>
                  </a:lnTo>
                  <a:lnTo>
                    <a:pt x="748" y="364"/>
                  </a:lnTo>
                  <a:lnTo>
                    <a:pt x="752" y="376"/>
                  </a:lnTo>
                  <a:lnTo>
                    <a:pt x="756" y="389"/>
                  </a:lnTo>
                  <a:lnTo>
                    <a:pt x="759" y="402"/>
                  </a:lnTo>
                  <a:lnTo>
                    <a:pt x="762" y="415"/>
                  </a:lnTo>
                  <a:lnTo>
                    <a:pt x="764" y="429"/>
                  </a:lnTo>
                  <a:lnTo>
                    <a:pt x="765" y="443"/>
                  </a:lnTo>
                  <a:lnTo>
                    <a:pt x="766" y="457"/>
                  </a:lnTo>
                  <a:lnTo>
                    <a:pt x="767" y="471"/>
                  </a:lnTo>
                  <a:lnTo>
                    <a:pt x="767" y="471"/>
                  </a:lnTo>
                  <a:lnTo>
                    <a:pt x="765" y="500"/>
                  </a:lnTo>
                  <a:lnTo>
                    <a:pt x="762" y="527"/>
                  </a:lnTo>
                  <a:lnTo>
                    <a:pt x="759" y="540"/>
                  </a:lnTo>
                  <a:lnTo>
                    <a:pt x="756" y="553"/>
                  </a:lnTo>
                  <a:lnTo>
                    <a:pt x="753" y="565"/>
                  </a:lnTo>
                  <a:lnTo>
                    <a:pt x="748" y="577"/>
                  </a:lnTo>
                  <a:lnTo>
                    <a:pt x="744" y="590"/>
                  </a:lnTo>
                  <a:lnTo>
                    <a:pt x="737" y="601"/>
                  </a:lnTo>
                  <a:lnTo>
                    <a:pt x="731" y="612"/>
                  </a:lnTo>
                  <a:lnTo>
                    <a:pt x="725" y="623"/>
                  </a:lnTo>
                  <a:lnTo>
                    <a:pt x="718" y="633"/>
                  </a:lnTo>
                  <a:lnTo>
                    <a:pt x="711" y="644"/>
                  </a:lnTo>
                  <a:lnTo>
                    <a:pt x="703" y="654"/>
                  </a:lnTo>
                  <a:lnTo>
                    <a:pt x="695" y="663"/>
                  </a:lnTo>
                  <a:lnTo>
                    <a:pt x="685" y="671"/>
                  </a:lnTo>
                  <a:lnTo>
                    <a:pt x="675" y="680"/>
                  </a:lnTo>
                  <a:lnTo>
                    <a:pt x="666" y="687"/>
                  </a:lnTo>
                  <a:lnTo>
                    <a:pt x="655" y="694"/>
                  </a:lnTo>
                  <a:lnTo>
                    <a:pt x="645" y="702"/>
                  </a:lnTo>
                  <a:lnTo>
                    <a:pt x="634" y="708"/>
                  </a:lnTo>
                  <a:lnTo>
                    <a:pt x="621" y="714"/>
                  </a:lnTo>
                  <a:lnTo>
                    <a:pt x="609" y="719"/>
                  </a:lnTo>
                  <a:lnTo>
                    <a:pt x="596" y="724"/>
                  </a:lnTo>
                  <a:lnTo>
                    <a:pt x="583" y="728"/>
                  </a:lnTo>
                  <a:lnTo>
                    <a:pt x="569" y="731"/>
                  </a:lnTo>
                  <a:lnTo>
                    <a:pt x="555" y="734"/>
                  </a:lnTo>
                  <a:lnTo>
                    <a:pt x="541" y="736"/>
                  </a:lnTo>
                  <a:lnTo>
                    <a:pt x="527" y="738"/>
                  </a:lnTo>
                  <a:lnTo>
                    <a:pt x="511" y="739"/>
                  </a:lnTo>
                  <a:lnTo>
                    <a:pt x="495" y="739"/>
                  </a:lnTo>
                  <a:lnTo>
                    <a:pt x="495" y="739"/>
                  </a:lnTo>
                  <a:close/>
                </a:path>
              </a:pathLst>
            </a:custGeom>
            <a:solidFill>
              <a:srgbClr val="60606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606060"/>
                </a:solidFill>
              </a:endParaRPr>
            </a:p>
          </p:txBody>
        </p:sp>
      </p:grpSp>
      <p:sp>
        <p:nvSpPr>
          <p:cNvPr id="30" name="TextBox 29"/>
          <p:cNvSpPr txBox="1"/>
          <p:nvPr/>
        </p:nvSpPr>
        <p:spPr>
          <a:xfrm rot="16200000">
            <a:off x="8671420" y="4560344"/>
            <a:ext cx="364202" cy="461665"/>
          </a:xfrm>
          <a:prstGeom prst="rect">
            <a:avLst/>
          </a:prstGeom>
          <a:noFill/>
        </p:spPr>
        <p:txBody>
          <a:bodyPr wrap="square" rtlCol="0" anchor="ctr">
            <a:spAutoFit/>
          </a:bodyPr>
          <a:lstStyle/>
          <a:p>
            <a:r>
              <a:rPr lang="en-US" sz="2400" b="1" dirty="0" smtClean="0">
                <a:solidFill>
                  <a:srgbClr val="BABABA"/>
                </a:solidFill>
              </a:rPr>
              <a:t>//</a:t>
            </a:r>
            <a:endParaRPr lang="en-US" sz="2400" b="1" dirty="0">
              <a:solidFill>
                <a:srgbClr val="BABABA"/>
              </a:solidFill>
            </a:endParaRPr>
          </a:p>
        </p:txBody>
      </p:sp>
      <p:pic>
        <p:nvPicPr>
          <p:cNvPr id="31" name="Degrees_2.png" descr="/Users/Sharon/WORK/BLOOMBERG/Degrees_2.png"/>
          <p:cNvPicPr>
            <a:picLocks noChangeAspect="1"/>
          </p:cNvPicPr>
          <p:nvPr/>
        </p:nvPicPr>
        <p:blipFill>
          <a:blip r:embed="rId20" r:link="rId21" cstate="print"/>
          <a:srcRect l="5524" t="50" r="17592" b="94679"/>
          <a:stretch>
            <a:fillRect/>
          </a:stretch>
        </p:blipFill>
        <p:spPr>
          <a:xfrm rot="16200000">
            <a:off x="5311776" y="3419476"/>
            <a:ext cx="6540500" cy="133347"/>
          </a:xfrm>
          <a:prstGeom prst="rect">
            <a:avLst/>
          </a:prstGeom>
        </p:spPr>
      </p:pic>
      <p:sp>
        <p:nvSpPr>
          <p:cNvPr id="36" name="Footer Placeholder 35"/>
          <p:cNvSpPr>
            <a:spLocks noGrp="1"/>
          </p:cNvSpPr>
          <p:nvPr>
            <p:ph type="ftr" sz="quarter" idx="3"/>
          </p:nvPr>
        </p:nvSpPr>
        <p:spPr>
          <a:xfrm>
            <a:off x="596900" y="6591300"/>
            <a:ext cx="7556500" cy="266700"/>
          </a:xfrm>
          <a:prstGeom prst="rect">
            <a:avLst/>
          </a:prstGeom>
        </p:spPr>
        <p:txBody>
          <a:bodyPr vert="horz" lIns="91440" tIns="45720" rIns="91440" bIns="45720" rtlCol="0" anchor="t"/>
          <a:lstStyle>
            <a:lvl1pPr algn="l">
              <a:defRPr sz="800">
                <a:solidFill>
                  <a:srgbClr val="606060"/>
                </a:solidFill>
              </a:defRPr>
            </a:lvl1pPr>
          </a:lstStyle>
          <a:p>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64" r:id="rId3"/>
    <p:sldLayoutId id="2147483666" r:id="rId4"/>
    <p:sldLayoutId id="2147483665" r:id="rId5"/>
    <p:sldLayoutId id="2147483651" r:id="rId6"/>
    <p:sldLayoutId id="2147483658" r:id="rId7"/>
    <p:sldLayoutId id="2147483659" r:id="rId8"/>
    <p:sldLayoutId id="2147483660" r:id="rId9"/>
    <p:sldLayoutId id="2147483661" r:id="rId10"/>
    <p:sldLayoutId id="2147483662" r:id="rId11"/>
    <p:sldLayoutId id="2147483652" r:id="rId12"/>
    <p:sldLayoutId id="2147483653" r:id="rId13"/>
    <p:sldLayoutId id="2147483663" r:id="rId14"/>
    <p:sldLayoutId id="2147483654" r:id="rId15"/>
    <p:sldLayoutId id="2147483655" r:id="rId16"/>
    <p:sldLayoutId id="2147483656" r:id="rId17"/>
    <p:sldLayoutId id="2147483657" r:id="rId18"/>
  </p:sldLayoutIdLst>
  <p:timing>
    <p:tnLst>
      <p:par>
        <p:cTn id="1" dur="indefinite" restart="never" nodeType="tmRoot"/>
      </p:par>
    </p:tnLst>
  </p:timing>
  <p:hf hdr="0" dt="0"/>
  <p:txStyles>
    <p:titleStyle>
      <a:lvl1pPr algn="l" defTabSz="914400" rtl="0" eaLnBrk="1" latinLnBrk="0" hangingPunct="1">
        <a:lnSpc>
          <a:spcPts val="2700"/>
        </a:lnSpc>
        <a:spcBef>
          <a:spcPct val="0"/>
        </a:spcBef>
        <a:buNone/>
        <a:defRPr lang="en-US" sz="3000" b="1" i="0" kern="1200" cap="all" dirty="0" smtClean="0">
          <a:solidFill>
            <a:schemeClr val="tx1"/>
          </a:solidFill>
          <a:latin typeface="Arial Bold"/>
          <a:ea typeface="+mj-ea"/>
          <a:cs typeface="Arial Bold"/>
        </a:defRPr>
      </a:lvl1pPr>
    </p:titleStyle>
    <p:bodyStyle>
      <a:lvl1pPr marL="0" indent="0" algn="l" defTabSz="914400" rtl="0" eaLnBrk="1" latinLnBrk="0" hangingPunct="1">
        <a:spcBef>
          <a:spcPts val="600"/>
        </a:spcBef>
        <a:spcAft>
          <a:spcPts val="300"/>
        </a:spcAft>
        <a:buFont typeface="Arial" pitchFamily="34" charset="0"/>
        <a:buNone/>
        <a:defRPr lang="en-US" sz="2000" b="1" kern="1200" cap="all" dirty="0" smtClean="0">
          <a:solidFill>
            <a:schemeClr val="tx1"/>
          </a:solidFill>
          <a:latin typeface="Arial"/>
          <a:ea typeface="+mn-ea"/>
          <a:cs typeface="Arial"/>
        </a:defRPr>
      </a:lvl1pPr>
      <a:lvl2pPr marL="742950" indent="-285750" algn="l" defTabSz="914400" rtl="0" eaLnBrk="1" latinLnBrk="0" hangingPunct="1">
        <a:spcBef>
          <a:spcPts val="800"/>
        </a:spcBef>
        <a:spcAft>
          <a:spcPts val="300"/>
        </a:spcAft>
        <a:buClr>
          <a:schemeClr val="accent2"/>
        </a:buClr>
        <a:buFont typeface="Lucida Grande"/>
        <a:buChar char="»"/>
        <a:defRPr lang="en-US" sz="1800" b="0" kern="1200" cap="none" dirty="0" smtClean="0">
          <a:solidFill>
            <a:srgbClr val="000000"/>
          </a:solidFill>
          <a:latin typeface="Arial"/>
          <a:ea typeface="+mn-ea"/>
          <a:cs typeface="Arial"/>
        </a:defRPr>
      </a:lvl2pPr>
      <a:lvl3pPr marL="1143000" indent="-228600" algn="l" defTabSz="914400" rtl="0" eaLnBrk="1" latinLnBrk="0" hangingPunct="1">
        <a:spcBef>
          <a:spcPts val="600"/>
        </a:spcBef>
        <a:spcAft>
          <a:spcPts val="200"/>
        </a:spcAft>
        <a:buClr>
          <a:schemeClr val="accent2"/>
        </a:buClr>
        <a:buFont typeface="Arial" pitchFamily="34" charset="0"/>
        <a:buChar char="•"/>
        <a:defRPr lang="en-US" sz="1800" b="0" kern="1200" cap="none" dirty="0" smtClean="0">
          <a:solidFill>
            <a:srgbClr val="000000"/>
          </a:solidFill>
          <a:latin typeface="Arial"/>
          <a:ea typeface="+mn-ea"/>
          <a:cs typeface="Arial"/>
        </a:defRPr>
      </a:lvl3pPr>
      <a:lvl4pPr marL="1600200" indent="-228600" algn="l" defTabSz="914400" rtl="0" eaLnBrk="1" latinLnBrk="0" hangingPunct="1">
        <a:spcBef>
          <a:spcPts val="1300"/>
        </a:spcBef>
        <a:buClr>
          <a:srgbClr val="F78E1E"/>
        </a:buClr>
        <a:buFont typeface="Arial" pitchFamily="34" charset="0"/>
        <a:buChar char="–"/>
        <a:defRPr lang="en-US" sz="1400" b="0" kern="1200" cap="none" dirty="0" smtClean="0">
          <a:solidFill>
            <a:srgbClr val="000000"/>
          </a:solidFill>
          <a:latin typeface="Arial"/>
          <a:ea typeface="+mn-ea"/>
          <a:cs typeface="Arial"/>
        </a:defRPr>
      </a:lvl4pPr>
      <a:lvl5pPr marL="2057400" indent="-228600" algn="l" defTabSz="914400" rtl="0" eaLnBrk="1" latinLnBrk="0" hangingPunct="1">
        <a:spcBef>
          <a:spcPts val="1200"/>
        </a:spcBef>
        <a:buClr>
          <a:schemeClr val="accent2"/>
        </a:buClr>
        <a:buFont typeface="Arial" pitchFamily="34" charset="0"/>
        <a:buChar char="–"/>
        <a:defRPr lang="en-US" sz="1400" b="0" kern="1200" cap="none" dirty="0" smtClean="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Rectangle 0"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6747" name="think-cell Slide" r:id="rId6" imgW="0" imgH="0" progId="">
                  <p:embed/>
                </p:oleObj>
              </mc:Choice>
              <mc:Fallback>
                <p:oleObj name="think-cell Slide" r:id="rId6" imgW="0" imgH="0" progId="">
                  <p:embed/>
                  <p:pic>
                    <p:nvPicPr>
                      <p:cNvPr id="0" name="AutoShape 6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Rectangle 35"/>
          <p:cNvSpPr>
            <a:spLocks noGrp="1" noChangeArrowheads="1"/>
          </p:cNvSpPr>
          <p:nvPr>
            <p:ph type="ctrTitle"/>
            <p:custDataLst>
              <p:tags r:id="rId3"/>
            </p:custDataLst>
          </p:nvPr>
        </p:nvSpPr>
        <p:spPr>
          <a:xfrm>
            <a:off x="-269875" y="323851"/>
            <a:ext cx="9550400" cy="3131868"/>
          </a:xfrm>
        </p:spPr>
        <p:txBody>
          <a:bodyPr>
            <a:normAutofit/>
          </a:bodyPr>
          <a:lstStyle/>
          <a:p>
            <a:pPr marL="342900" indent="-342900">
              <a:tabLst>
                <a:tab pos="344488" algn="l"/>
              </a:tabLst>
            </a:pPr>
            <a:r>
              <a:rPr lang="en-US" sz="8000" dirty="0" smtClean="0">
                <a:solidFill>
                  <a:srgbClr val="00B0F0"/>
                </a:solidFill>
              </a:rPr>
              <a:t> TRADING</a:t>
            </a:r>
            <a:br>
              <a:rPr lang="en-US" sz="8000" dirty="0" smtClean="0">
                <a:solidFill>
                  <a:srgbClr val="00B0F0"/>
                </a:solidFill>
              </a:rPr>
            </a:br>
            <a:r>
              <a:rPr lang="en-US" sz="8000" dirty="0" smtClean="0">
                <a:solidFill>
                  <a:srgbClr val="00B0F0"/>
                </a:solidFill>
              </a:rPr>
              <a:t>SOLUTIONS PMO</a:t>
            </a:r>
            <a:br>
              <a:rPr lang="en-US" sz="8000" dirty="0" smtClean="0">
                <a:solidFill>
                  <a:srgbClr val="00B0F0"/>
                </a:solidFill>
              </a:rPr>
            </a:br>
            <a:r>
              <a:rPr lang="en-US" sz="4800" dirty="0" smtClean="0">
                <a:solidFill>
                  <a:schemeClr val="tx1"/>
                </a:solidFill>
              </a:rPr>
              <a:t>Project: atlas-CFD</a:t>
            </a:r>
            <a:endParaRPr lang="en-US" sz="4800" dirty="0">
              <a:solidFill>
                <a:srgbClr val="00B0F0"/>
              </a:solidFill>
            </a:endParaRPr>
          </a:p>
        </p:txBody>
      </p:sp>
      <p:sp>
        <p:nvSpPr>
          <p:cNvPr id="8" name="Subtitle 7"/>
          <p:cNvSpPr>
            <a:spLocks noGrp="1"/>
          </p:cNvSpPr>
          <p:nvPr>
            <p:ph type="subTitle" idx="1"/>
          </p:nvPr>
        </p:nvSpPr>
        <p:spPr/>
        <p:txBody>
          <a:bodyPr/>
          <a:lstStyle/>
          <a:p>
            <a:r>
              <a:rPr lang="en-US" b="0" dirty="0" smtClean="0">
                <a:solidFill>
                  <a:schemeClr val="tx1"/>
                </a:solidFill>
              </a:rPr>
              <a:t>1</a:t>
            </a:r>
            <a:r>
              <a:rPr lang="en-US" b="0" dirty="0" smtClean="0"/>
              <a:t> </a:t>
            </a:r>
            <a:r>
              <a:rPr lang="en-US" b="0" dirty="0" smtClean="0">
                <a:solidFill>
                  <a:schemeClr val="accent2"/>
                </a:solidFill>
              </a:rPr>
              <a:t>//</a:t>
            </a:r>
            <a:r>
              <a:rPr lang="en-US" b="0" dirty="0" smtClean="0">
                <a:solidFill>
                  <a:srgbClr val="000000"/>
                </a:solidFill>
              </a:rPr>
              <a:t> </a:t>
            </a:r>
            <a:r>
              <a:rPr lang="en-US" b="0" dirty="0" smtClean="0">
                <a:solidFill>
                  <a:srgbClr val="000000"/>
                </a:solidFill>
              </a:rPr>
              <a:t>11</a:t>
            </a:r>
            <a:r>
              <a:rPr lang="en-US" b="0" dirty="0" smtClean="0">
                <a:solidFill>
                  <a:srgbClr val="F78E1E"/>
                </a:solidFill>
              </a:rPr>
              <a:t>//</a:t>
            </a:r>
            <a:r>
              <a:rPr lang="en-US" b="0" dirty="0" smtClean="0">
                <a:solidFill>
                  <a:schemeClr val="tx1"/>
                </a:solidFill>
              </a:rPr>
              <a:t> </a:t>
            </a:r>
            <a:r>
              <a:rPr lang="en-US" b="0" dirty="0" smtClean="0">
                <a:solidFill>
                  <a:schemeClr val="tx1"/>
                </a:solidFill>
              </a:rPr>
              <a:t>2016</a:t>
            </a:r>
            <a:endParaRPr lang="en-US" b="0" dirty="0" smtClean="0">
              <a:solidFill>
                <a:schemeClr val="tx1"/>
              </a:solidFill>
            </a:endParaRPr>
          </a:p>
        </p:txBody>
      </p:sp>
      <p:sp>
        <p:nvSpPr>
          <p:cNvPr id="6" name="TextBox 5"/>
          <p:cNvSpPr txBox="1"/>
          <p:nvPr/>
        </p:nvSpPr>
        <p:spPr>
          <a:xfrm>
            <a:off x="69011" y="5616692"/>
            <a:ext cx="2403222" cy="369332"/>
          </a:xfrm>
          <a:prstGeom prst="rect">
            <a:avLst/>
          </a:prstGeom>
          <a:noFill/>
        </p:spPr>
        <p:txBody>
          <a:bodyPr wrap="none" rtlCol="0">
            <a:spAutoFit/>
          </a:bodyPr>
          <a:lstStyle/>
          <a:p>
            <a:r>
              <a:rPr lang="en-US" dirty="0" smtClean="0"/>
              <a:t>Private &amp; Confidential</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rot="5400000">
            <a:off x="8697681" y="-65001"/>
            <a:ext cx="351448" cy="481450"/>
          </a:xfrm>
        </p:spPr>
        <p:txBody>
          <a:bodyPr/>
          <a:lstStyle/>
          <a:p>
            <a:fld id="{B383C57C-80DA-45D5-BFE5-7583B8192761}" type="slidenum">
              <a:rPr lang="en-US" smtClean="0"/>
              <a:pPr/>
              <a:t>10</a:t>
            </a:fld>
            <a:endParaRPr lang="en-US"/>
          </a:p>
        </p:txBody>
      </p:sp>
      <p:sp>
        <p:nvSpPr>
          <p:cNvPr id="10" name="Title 1"/>
          <p:cNvSpPr txBox="1">
            <a:spLocks/>
          </p:cNvSpPr>
          <p:nvPr/>
        </p:nvSpPr>
        <p:spPr>
          <a:xfrm>
            <a:off x="296974" y="86576"/>
            <a:ext cx="7677150" cy="965200"/>
          </a:xfrm>
          <a:prstGeom prst="rect">
            <a:avLst/>
          </a:prstGeom>
        </p:spPr>
        <p:txBody>
          <a:bodyPr vert="horz" lIns="91440" tIns="45720" rIns="91440" bIns="45720" rtlCol="0" anchor="ctr">
            <a:normAutofit/>
          </a:bodyPr>
          <a:lstStyle>
            <a:lvl1pPr algn="l" defTabSz="914400" rtl="0" eaLnBrk="1" latinLnBrk="0" hangingPunct="1">
              <a:lnSpc>
                <a:spcPts val="2700"/>
              </a:lnSpc>
              <a:spcBef>
                <a:spcPct val="0"/>
              </a:spcBef>
              <a:buNone/>
              <a:defRPr lang="en-US" sz="3000" b="1" i="0" kern="1200" cap="all" dirty="0" smtClean="0">
                <a:solidFill>
                  <a:schemeClr val="tx1"/>
                </a:solidFill>
                <a:latin typeface="Arial Bold"/>
                <a:ea typeface="+mj-ea"/>
                <a:cs typeface="Arial Bold"/>
              </a:defRPr>
            </a:lvl1pPr>
          </a:lstStyle>
          <a:p>
            <a:r>
              <a:rPr lang="en-US" dirty="0" smtClean="0"/>
              <a:t>Project </a:t>
            </a:r>
            <a:r>
              <a:rPr lang="en-US" dirty="0" smtClean="0">
                <a:solidFill>
                  <a:srgbClr val="00B0F0"/>
                </a:solidFill>
              </a:rPr>
              <a:t>status</a:t>
            </a:r>
            <a:endParaRPr lang="en-US" dirty="0">
              <a:solidFill>
                <a:srgbClr val="00B0F0"/>
              </a:solidFill>
            </a:endParaRPr>
          </a:p>
        </p:txBody>
      </p:sp>
      <p:sp>
        <p:nvSpPr>
          <p:cNvPr id="11" name="Slide Number Placeholder 2"/>
          <p:cNvSpPr txBox="1">
            <a:spLocks/>
          </p:cNvSpPr>
          <p:nvPr/>
        </p:nvSpPr>
        <p:spPr>
          <a:xfrm rot="5400000">
            <a:off x="8697681" y="-65001"/>
            <a:ext cx="351448" cy="481450"/>
          </a:xfrm>
          <a:prstGeom prst="rect">
            <a:avLst/>
          </a:prstGeom>
        </p:spPr>
        <p:txBody>
          <a:bodyPr vert="vert270" lIns="91440" tIns="45720" rIns="91440" bIns="45720" rtlCol="0" anchor="ctr"/>
          <a:lstStyle>
            <a:defPPr>
              <a:defRPr lang="en-US"/>
            </a:defPPr>
            <a:lvl1pPr marL="0" algn="ctr" defTabSz="914400" rtl="0" eaLnBrk="1" latinLnBrk="0" hangingPunct="1">
              <a:defRPr lang="en-US" sz="2000" b="1" kern="1200" smtClean="0">
                <a:solidFill>
                  <a:srgbClr val="606060"/>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83C57C-80DA-45D5-BFE5-7583B8192761}" type="slidenum">
              <a:rPr lang="en-US" smtClean="0"/>
              <a:pPr/>
              <a:t>10</a:t>
            </a:fld>
            <a:endParaRPr lang="en-US" dirty="0"/>
          </a:p>
        </p:txBody>
      </p:sp>
      <p:graphicFrame>
        <p:nvGraphicFramePr>
          <p:cNvPr id="23" name="Table 22"/>
          <p:cNvGraphicFramePr>
            <a:graphicFrameLocks noGrp="1"/>
          </p:cNvGraphicFramePr>
          <p:nvPr>
            <p:extLst>
              <p:ext uri="{D42A27DB-BD31-4B8C-83A1-F6EECF244321}">
                <p14:modId xmlns:p14="http://schemas.microsoft.com/office/powerpoint/2010/main" val="1092166723"/>
              </p:ext>
            </p:extLst>
          </p:nvPr>
        </p:nvGraphicFramePr>
        <p:xfrm>
          <a:off x="385635" y="812945"/>
          <a:ext cx="8043989" cy="304800"/>
        </p:xfrm>
        <a:graphic>
          <a:graphicData uri="http://schemas.openxmlformats.org/drawingml/2006/table">
            <a:tbl>
              <a:tblPr firstRow="1" bandRow="1">
                <a:tableStyleId>{5C22544A-7EE6-4342-B048-85BDC9FD1C3A}</a:tableStyleId>
              </a:tblPr>
              <a:tblGrid>
                <a:gridCol w="8043989"/>
              </a:tblGrid>
              <a:tr h="254654">
                <a:tc>
                  <a:txBody>
                    <a:bodyPr/>
                    <a:lstStyle/>
                    <a:p>
                      <a:r>
                        <a:rPr lang="en-US" sz="1400" i="0" dirty="0" smtClean="0"/>
                        <a:t>ISSUES &amp; RISKS – contd.</a:t>
                      </a:r>
                      <a:endParaRPr lang="en-US" sz="1400" i="0" dirty="0"/>
                    </a:p>
                  </a:txBody>
                  <a:tcPr>
                    <a:solidFill>
                      <a:srgbClr val="00B0F0"/>
                    </a:solidFill>
                  </a:tcPr>
                </a:tc>
              </a:tr>
            </a:tbl>
          </a:graphicData>
        </a:graphic>
      </p:graphicFrame>
      <p:graphicFrame>
        <p:nvGraphicFramePr>
          <p:cNvPr id="24" name="Group 984"/>
          <p:cNvGraphicFramePr>
            <a:graphicFrameLocks noGrp="1"/>
          </p:cNvGraphicFramePr>
          <p:nvPr>
            <p:extLst>
              <p:ext uri="{D42A27DB-BD31-4B8C-83A1-F6EECF244321}">
                <p14:modId xmlns:p14="http://schemas.microsoft.com/office/powerpoint/2010/main" val="3115988450"/>
              </p:ext>
            </p:extLst>
          </p:nvPr>
        </p:nvGraphicFramePr>
        <p:xfrm>
          <a:off x="394911" y="1146144"/>
          <a:ext cx="8034461" cy="5297992"/>
        </p:xfrm>
        <a:graphic>
          <a:graphicData uri="http://schemas.openxmlformats.org/drawingml/2006/table">
            <a:tbl>
              <a:tblPr/>
              <a:tblGrid>
                <a:gridCol w="1500564"/>
                <a:gridCol w="1171575"/>
                <a:gridCol w="3467100"/>
                <a:gridCol w="795839"/>
                <a:gridCol w="1099383"/>
              </a:tblGrid>
              <a:tr h="265173">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200" b="1" i="0" u="none" strike="noStrike" cap="none" normalizeH="0" baseline="0" dirty="0" smtClean="0">
                          <a:ln>
                            <a:noFill/>
                          </a:ln>
                          <a:solidFill>
                            <a:srgbClr val="606060"/>
                          </a:solidFill>
                          <a:effectLst/>
                          <a:latin typeface="Arial" charset="0"/>
                          <a:cs typeface="Arial" charset="0"/>
                        </a:rPr>
                        <a:t>Issue/Risk</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defRPr/>
                      </a:pPr>
                      <a:r>
                        <a:rPr kumimoji="0" lang="en-US" sz="1200" b="1" i="0" u="none" strike="noStrike" cap="none" normalizeH="0" baseline="0" dirty="0" smtClean="0">
                          <a:ln>
                            <a:noFill/>
                          </a:ln>
                          <a:solidFill>
                            <a:srgbClr val="606060"/>
                          </a:solidFill>
                          <a:effectLst/>
                          <a:latin typeface="Arial" charset="0"/>
                          <a:cs typeface="Arial" charset="0"/>
                        </a:rPr>
                        <a:t>Status</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200" b="1" i="0" u="none" strike="noStrike" cap="none" normalizeH="0" baseline="0" dirty="0" smtClean="0">
                          <a:ln>
                            <a:noFill/>
                          </a:ln>
                          <a:solidFill>
                            <a:srgbClr val="606060"/>
                          </a:solidFill>
                          <a:effectLst/>
                          <a:latin typeface="Arial" charset="0"/>
                          <a:cs typeface="Arial" charset="0"/>
                        </a:rPr>
                        <a:t>Detail</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defRPr/>
                      </a:pPr>
                      <a:r>
                        <a:rPr kumimoji="0" lang="en-US" sz="1200" b="1" i="0" u="none" strike="noStrike" cap="none" normalizeH="0" baseline="0" dirty="0" smtClean="0">
                          <a:ln>
                            <a:noFill/>
                          </a:ln>
                          <a:solidFill>
                            <a:srgbClr val="606060"/>
                          </a:solidFill>
                          <a:effectLst/>
                          <a:latin typeface="Arial" charset="0"/>
                          <a:cs typeface="Arial" charset="0"/>
                        </a:rPr>
                        <a:t>Impact</a:t>
                      </a:r>
                    </a:p>
                    <a:p>
                      <a:pPr marL="0" marR="0" lvl="0" indent="0" algn="ctr" defTabSz="895350" rtl="0" eaLnBrk="0" fontAlgn="base" latinLnBrk="0" hangingPunct="0">
                        <a:lnSpc>
                          <a:spcPct val="100000"/>
                        </a:lnSpc>
                        <a:spcBef>
                          <a:spcPct val="0"/>
                        </a:spcBef>
                        <a:spcAft>
                          <a:spcPct val="0"/>
                        </a:spcAft>
                        <a:buClrTx/>
                        <a:buSzPct val="120000"/>
                        <a:buFontTx/>
                        <a:buNone/>
                        <a:tabLst/>
                      </a:pPr>
                      <a:endParaRPr kumimoji="0" lang="en-US" sz="1200" b="1" i="0" u="none" strike="noStrike" cap="none" normalizeH="0" baseline="0" dirty="0" smtClean="0">
                        <a:ln>
                          <a:noFill/>
                        </a:ln>
                        <a:solidFill>
                          <a:srgbClr val="606060"/>
                        </a:solidFill>
                        <a:effectLst/>
                        <a:latin typeface="Arial" charset="0"/>
                        <a:cs typeface="Arial" charset="0"/>
                      </a:endParaRP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200" b="1" i="0" u="none" strike="noStrike" cap="none" normalizeH="0" baseline="0" dirty="0" smtClean="0">
                          <a:ln>
                            <a:noFill/>
                          </a:ln>
                          <a:solidFill>
                            <a:srgbClr val="606060"/>
                          </a:solidFill>
                          <a:effectLst/>
                          <a:latin typeface="Arial" charset="0"/>
                          <a:cs typeface="Arial" charset="0"/>
                        </a:rPr>
                        <a:t>Owner</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353142">
                <a:tc>
                  <a:txBody>
                    <a:bodyPr/>
                    <a:lstStyle/>
                    <a:p>
                      <a:pPr marL="52388" indent="0" algn="ctr"/>
                      <a:r>
                        <a:rPr lang="en-US" sz="800" dirty="0" smtClean="0"/>
                        <a:t>Client</a:t>
                      </a: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800" dirty="0" smtClean="0">
                          <a:effectLst/>
                          <a:latin typeface="+mn-lt"/>
                          <a:ea typeface="Times New Roman"/>
                        </a:rPr>
                        <a:t>Open</a:t>
                      </a: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algn="l"/>
                      <a:r>
                        <a:rPr lang="en-US" sz="800" b="0" i="0" kern="1200" dirty="0" smtClean="0">
                          <a:solidFill>
                            <a:schemeClr val="tx1"/>
                          </a:solidFill>
                          <a:effectLst/>
                          <a:latin typeface="+mn-lt"/>
                          <a:ea typeface="+mn-ea"/>
                          <a:cs typeface="+mn-cs"/>
                        </a:rPr>
                        <a:t>First adopters or pilot</a:t>
                      </a:r>
                      <a:r>
                        <a:rPr lang="en-US" sz="800" b="0" i="0" kern="1200" baseline="0" dirty="0" smtClean="0">
                          <a:solidFill>
                            <a:schemeClr val="tx1"/>
                          </a:solidFill>
                          <a:effectLst/>
                          <a:latin typeface="+mn-lt"/>
                          <a:ea typeface="+mn-ea"/>
                          <a:cs typeface="+mn-cs"/>
                        </a:rPr>
                        <a:t> clients</a:t>
                      </a:r>
                      <a:endParaRPr lang="en-US" sz="800" b="0" i="0" kern="1200" dirty="0" smtClean="0">
                        <a:solidFill>
                          <a:schemeClr val="tx1"/>
                        </a:solidFill>
                        <a:effectLst/>
                        <a:latin typeface="+mn-lt"/>
                        <a:ea typeface="+mn-ea"/>
                        <a:cs typeface="+mn-cs"/>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marR="0" indent="0" algn="ctr" defTabSz="914400" rtl="0" eaLnBrk="1" fontAlgn="auto" latinLnBrk="0" hangingPunct="1">
                        <a:lnSpc>
                          <a:spcPct val="100000"/>
                        </a:lnSpc>
                        <a:spcBef>
                          <a:spcPts val="0"/>
                        </a:spcBef>
                        <a:spcAft>
                          <a:spcPts val="0"/>
                        </a:spcAft>
                        <a:buClrTx/>
                        <a:buSzTx/>
                        <a:buFontTx/>
                        <a:buNone/>
                        <a:tabLst/>
                        <a:defRPr/>
                      </a:pPr>
                      <a:r>
                        <a:rPr lang="en-US" sz="800" dirty="0" smtClean="0"/>
                        <a:t>Client</a:t>
                      </a:r>
                    </a:p>
                    <a:p>
                      <a:pPr marL="52388" indent="0" algn="ct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800" dirty="0" smtClean="0">
                          <a:effectLst/>
                          <a:latin typeface="+mn-lt"/>
                          <a:ea typeface="Times New Roman"/>
                        </a:rPr>
                        <a:t>Open</a:t>
                      </a: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algn="l"/>
                      <a:r>
                        <a:rPr lang="en-US" sz="800" b="0" i="0" kern="1200" dirty="0" smtClean="0">
                          <a:solidFill>
                            <a:schemeClr val="tx1"/>
                          </a:solidFill>
                          <a:effectLst/>
                          <a:latin typeface="+mn-lt"/>
                          <a:ea typeface="+mn-ea"/>
                          <a:cs typeface="+mn-cs"/>
                        </a:rPr>
                        <a:t>Usage metrics to prove success of functionality</a:t>
                      </a: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indent="0" algn="ctr"/>
                      <a:r>
                        <a:rPr lang="en-US" sz="800" dirty="0" smtClean="0"/>
                        <a:t>Support</a:t>
                      </a: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800" dirty="0" smtClean="0">
                          <a:effectLst/>
                          <a:latin typeface="+mn-lt"/>
                          <a:ea typeface="Times New Roman"/>
                        </a:rPr>
                        <a:t>Open</a:t>
                      </a: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lvl="0" algn="l"/>
                      <a:r>
                        <a:rPr lang="en-US" sz="800" b="0" i="0" kern="1200" dirty="0" smtClean="0">
                          <a:solidFill>
                            <a:schemeClr val="tx1"/>
                          </a:solidFill>
                          <a:effectLst/>
                          <a:latin typeface="+mn-lt"/>
                          <a:ea typeface="+mn-ea"/>
                          <a:cs typeface="+mn-cs"/>
                        </a:rPr>
                        <a:t>After we go live with this project, is the expectation that all data corrections related to CFDs will be initiated by a client action within the trading system or will we need an operational back-door to manually correct data?</a:t>
                      </a:r>
                      <a:endParaRPr lang="en-US" sz="800" kern="1200" dirty="0">
                        <a:solidFill>
                          <a:schemeClr val="tx1"/>
                        </a:solidFill>
                        <a:effectLst/>
                        <a:latin typeface="+mn-lt"/>
                        <a:ea typeface="+mn-ea"/>
                        <a:cs typeface="+mn-cs"/>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indent="0" algn="ctr"/>
                      <a:r>
                        <a:rPr lang="en-US" sz="800" dirty="0" smtClean="0"/>
                        <a:t>Ticketing</a:t>
                      </a: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800" dirty="0" smtClean="0">
                          <a:effectLst/>
                          <a:latin typeface="+mn-lt"/>
                          <a:ea typeface="Times New Roman"/>
                        </a:rPr>
                        <a:t>Closed</a:t>
                      </a: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r>
                        <a:rPr lang="en-US" sz="800" b="0" i="0" kern="1200" dirty="0" smtClean="0">
                          <a:solidFill>
                            <a:schemeClr val="tx1"/>
                          </a:solidFill>
                          <a:effectLst/>
                          <a:latin typeface="+mn-lt"/>
                          <a:ea typeface="+mn-ea"/>
                          <a:cs typeface="+mn-cs"/>
                        </a:rPr>
                        <a:t>1. Ticketing to send us the FX Rate and the Settlement currency. The fields for these already exist in the UI. We only need to start using them.</a:t>
                      </a:r>
                    </a:p>
                    <a:p>
                      <a:r>
                        <a:rPr lang="en-US" sz="800" b="0" i="0" kern="1200" dirty="0" smtClean="0">
                          <a:solidFill>
                            <a:schemeClr val="tx1"/>
                          </a:solidFill>
                          <a:effectLst/>
                          <a:latin typeface="+mn-lt"/>
                          <a:ea typeface="+mn-ea"/>
                          <a:cs typeface="+mn-cs"/>
                        </a:rPr>
                        <a:t>2. Changes that are purely for display purposes: Displaying the price (read-only) in settlement currency etc. This shouldn't impact ATLAS and our design can be independent of this.</a:t>
                      </a:r>
                      <a:br>
                        <a:rPr lang="en-US" sz="800" b="0" i="0" kern="1200" dirty="0" smtClean="0">
                          <a:solidFill>
                            <a:schemeClr val="tx1"/>
                          </a:solidFill>
                          <a:effectLst/>
                          <a:latin typeface="+mn-lt"/>
                          <a:ea typeface="+mn-ea"/>
                          <a:cs typeface="+mn-cs"/>
                        </a:rPr>
                      </a:br>
                      <a:r>
                        <a:rPr lang="en-US" sz="800" b="0" i="0" kern="1200" dirty="0" smtClean="0">
                          <a:solidFill>
                            <a:schemeClr val="tx1"/>
                          </a:solidFill>
                          <a:effectLst/>
                          <a:latin typeface="+mn-lt"/>
                          <a:ea typeface="+mn-ea"/>
                          <a:cs typeface="+mn-cs"/>
                        </a:rPr>
                        <a:t>Current state of the world:</a:t>
                      </a:r>
                    </a:p>
                    <a:p>
                      <a:r>
                        <a:rPr lang="en-US" sz="800" b="0" i="0" kern="1200" dirty="0" smtClean="0">
                          <a:solidFill>
                            <a:schemeClr val="tx1"/>
                          </a:solidFill>
                          <a:effectLst/>
                          <a:latin typeface="+mn-lt"/>
                          <a:ea typeface="+mn-ea"/>
                          <a:cs typeface="+mn-cs"/>
                        </a:rPr>
                        <a:t>1. From a business requirements perspective, there are no changes that are being asked for XPT, TBLT, and CFD deal close-out / </a:t>
                      </a:r>
                      <a:r>
                        <a:rPr lang="en-US" sz="800" b="0" i="0" kern="1200" dirty="0" err="1" smtClean="0">
                          <a:solidFill>
                            <a:schemeClr val="tx1"/>
                          </a:solidFill>
                          <a:effectLst/>
                          <a:latin typeface="+mn-lt"/>
                          <a:ea typeface="+mn-ea"/>
                          <a:cs typeface="+mn-cs"/>
                        </a:rPr>
                        <a:t>unwindings</a:t>
                      </a:r>
                      <a:r>
                        <a:rPr lang="en-US" sz="800" b="0" i="0" kern="1200" dirty="0" smtClean="0">
                          <a:solidFill>
                            <a:schemeClr val="tx1"/>
                          </a:solidFill>
                          <a:effectLst/>
                          <a:latin typeface="+mn-lt"/>
                          <a:ea typeface="+mn-ea"/>
                          <a:cs typeface="+mn-cs"/>
                        </a:rPr>
                        <a:t>.</a:t>
                      </a:r>
                    </a:p>
                    <a:p>
                      <a:r>
                        <a:rPr lang="en-US" sz="800" b="0" i="0" kern="1200" dirty="0" smtClean="0">
                          <a:solidFill>
                            <a:schemeClr val="tx1"/>
                          </a:solidFill>
                          <a:effectLst/>
                          <a:latin typeface="+mn-lt"/>
                          <a:ea typeface="+mn-ea"/>
                          <a:cs typeface="+mn-cs"/>
                        </a:rPr>
                        <a:t>2. We have buy-in from Chaitanya Ravi to call ATLAS APIs during order creation / close-outs if we need it.</a:t>
                      </a: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indent="0" algn="ctr"/>
                      <a:r>
                        <a:rPr lang="en-US" sz="800" dirty="0" smtClean="0"/>
                        <a:t>Cash</a:t>
                      </a: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800" dirty="0" smtClean="0">
                          <a:effectLst/>
                          <a:latin typeface="+mn-lt"/>
                          <a:ea typeface="Times New Roman"/>
                        </a:rPr>
                        <a:t>Closed</a:t>
                      </a: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r>
                        <a:rPr lang="en-US" sz="800" b="0" i="0" kern="1200" dirty="0" smtClean="0">
                          <a:solidFill>
                            <a:schemeClr val="tx1"/>
                          </a:solidFill>
                          <a:effectLst/>
                          <a:latin typeface="+mn-lt"/>
                          <a:ea typeface="+mn-ea"/>
                          <a:cs typeface="+mn-cs"/>
                        </a:rPr>
                        <a:t>Need to confirm if  we</a:t>
                      </a:r>
                      <a:r>
                        <a:rPr lang="en-US" sz="800" b="0" i="0" kern="1200" baseline="0" dirty="0" smtClean="0">
                          <a:solidFill>
                            <a:schemeClr val="tx1"/>
                          </a:solidFill>
                          <a:effectLst/>
                          <a:latin typeface="+mn-lt"/>
                          <a:ea typeface="+mn-ea"/>
                          <a:cs typeface="+mn-cs"/>
                        </a:rPr>
                        <a:t> require </a:t>
                      </a:r>
                      <a:r>
                        <a:rPr lang="en-US" sz="800" b="0" i="0" kern="1200" dirty="0" smtClean="0">
                          <a:solidFill>
                            <a:schemeClr val="tx1"/>
                          </a:solidFill>
                          <a:effectLst/>
                          <a:latin typeface="+mn-lt"/>
                          <a:ea typeface="+mn-ea"/>
                          <a:cs typeface="+mn-cs"/>
                        </a:rPr>
                        <a:t>having the cash impact correct (in the settlement currency) during a CFD close-out. By cash impact, I am referring to CCMS and the MAV cash position amounts being reflected correctly. Yes, I would like cash to be included in the scope of this project. (If not, then cash will most likely be wrong for any client who uses this functionality)</a:t>
                      </a:r>
                    </a:p>
                    <a:p>
                      <a:pPr marL="52388" marR="0" lvl="0" indent="0" algn="l">
                        <a:spcBef>
                          <a:spcPts val="0"/>
                        </a:spcBef>
                        <a:spcAft>
                          <a:spcPts val="0"/>
                        </a:spcAft>
                        <a:buFont typeface="Symbol"/>
                        <a:buNone/>
                        <a:tabLst>
                          <a:tab pos="102870" algn="l"/>
                        </a:tabLst>
                      </a:pP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indent="0" algn="ctr"/>
                      <a:r>
                        <a:rPr lang="en-US" sz="800" dirty="0" smtClean="0"/>
                        <a:t>Order</a:t>
                      </a:r>
                      <a:r>
                        <a:rPr lang="en-US" sz="800" baseline="0" dirty="0" smtClean="0"/>
                        <a:t> Management</a:t>
                      </a: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800" dirty="0" smtClean="0">
                          <a:effectLst/>
                          <a:latin typeface="+mn-lt"/>
                          <a:ea typeface="Times New Roman"/>
                        </a:rPr>
                        <a:t>Closed</a:t>
                      </a: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r>
                        <a:rPr lang="en-US" sz="800" b="0" i="0" kern="1200" dirty="0" smtClean="0">
                          <a:solidFill>
                            <a:schemeClr val="tx1"/>
                          </a:solidFill>
                          <a:effectLst/>
                          <a:latin typeface="+mn-lt"/>
                          <a:ea typeface="+mn-ea"/>
                          <a:cs typeface="+mn-cs"/>
                        </a:rPr>
                        <a:t>Are there </a:t>
                      </a:r>
                      <a:r>
                        <a:rPr lang="en-US" sz="800" b="0" i="0" u="sng" kern="1200" dirty="0" smtClean="0">
                          <a:solidFill>
                            <a:schemeClr val="tx1"/>
                          </a:solidFill>
                          <a:effectLst/>
                          <a:latin typeface="+mn-lt"/>
                          <a:ea typeface="+mn-ea"/>
                          <a:cs typeface="+mn-cs"/>
                        </a:rPr>
                        <a:t>any</a:t>
                      </a:r>
                      <a:r>
                        <a:rPr lang="en-US" sz="800" b="0" i="0" kern="1200" dirty="0" smtClean="0">
                          <a:solidFill>
                            <a:schemeClr val="tx1"/>
                          </a:solidFill>
                          <a:effectLst/>
                          <a:latin typeface="+mn-lt"/>
                          <a:ea typeface="+mn-ea"/>
                          <a:cs typeface="+mn-cs"/>
                        </a:rPr>
                        <a:t> requirements at all for CFDs from an order management perspective - routes, fills, portfolio allocations, execution?</a:t>
                      </a:r>
                    </a:p>
                    <a:p>
                      <a:r>
                        <a:rPr lang="en-US" sz="800" b="0" i="0" kern="1200" dirty="0" smtClean="0">
                          <a:solidFill>
                            <a:schemeClr val="tx1"/>
                          </a:solidFill>
                          <a:effectLst/>
                          <a:latin typeface="+mn-lt"/>
                          <a:ea typeface="+mn-ea"/>
                          <a:cs typeface="+mn-cs"/>
                        </a:rPr>
                        <a:t>Aside from the fields that we are requesting (CFD to Account FX Rate, underlying security to Account FX Rate, etc. ) I am not aware of any additional requirements.</a:t>
                      </a:r>
                    </a:p>
                    <a:p>
                      <a:pPr marL="52388" marR="0" lvl="0" indent="0" algn="l">
                        <a:spcBef>
                          <a:spcPts val="0"/>
                        </a:spcBef>
                        <a:spcAft>
                          <a:spcPts val="0"/>
                        </a:spcAft>
                        <a:buFont typeface="Symbol"/>
                        <a:buNone/>
                        <a:tabLst>
                          <a:tab pos="102870" algn="l"/>
                        </a:tabLst>
                      </a:pP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indent="0" algn="ctr"/>
                      <a:r>
                        <a:rPr lang="en-US" sz="800" dirty="0" smtClean="0"/>
                        <a:t>Ticketing</a:t>
                      </a: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800" dirty="0" smtClean="0">
                          <a:effectLst/>
                          <a:latin typeface="+mn-lt"/>
                          <a:ea typeface="Times New Roman"/>
                        </a:rPr>
                        <a:t>Closed</a:t>
                      </a: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lvl="0" algn="l"/>
                      <a:r>
                        <a:rPr lang="en-US" sz="800" b="0" i="0" kern="1200" dirty="0" smtClean="0">
                          <a:solidFill>
                            <a:schemeClr val="tx1"/>
                          </a:solidFill>
                          <a:effectLst/>
                          <a:latin typeface="+mn-lt"/>
                          <a:ea typeface="+mn-ea"/>
                          <a:cs typeface="+mn-cs"/>
                        </a:rPr>
                        <a:t>Settlement currency = contract currency - Yes</a:t>
                      </a:r>
                      <a:endParaRPr lang="en-US" sz="800" kern="1200" dirty="0">
                        <a:solidFill>
                          <a:schemeClr val="tx1"/>
                        </a:solidFill>
                        <a:effectLst/>
                        <a:latin typeface="+mn-lt"/>
                        <a:ea typeface="+mn-ea"/>
                        <a:cs typeface="+mn-cs"/>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indent="0" algn="ctr"/>
                      <a:r>
                        <a:rPr lang="en-US" sz="800" dirty="0" smtClean="0"/>
                        <a:t>P&amp;L</a:t>
                      </a: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800" dirty="0" smtClean="0">
                          <a:effectLst/>
                          <a:latin typeface="+mn-lt"/>
                          <a:ea typeface="Times New Roman"/>
                        </a:rPr>
                        <a:t>Closed</a:t>
                      </a: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r>
                        <a:rPr lang="en-US" sz="800" b="0" i="0" kern="1200" dirty="0" smtClean="0">
                          <a:solidFill>
                            <a:schemeClr val="tx1"/>
                          </a:solidFill>
                          <a:effectLst/>
                          <a:latin typeface="+mn-lt"/>
                          <a:ea typeface="+mn-ea"/>
                          <a:cs typeface="+mn-cs"/>
                        </a:rPr>
                        <a:t>Do we want the valuation (unrealized P&amp;L) to update every day based on the end of day price (to be consistent with what MAV does today for every position).   Yes</a:t>
                      </a:r>
                    </a:p>
                    <a:p>
                      <a:pPr lvl="0" algn="l"/>
                      <a:endParaRPr lang="en-US" sz="800" kern="1200" dirty="0">
                        <a:solidFill>
                          <a:schemeClr val="tx1"/>
                        </a:solidFill>
                        <a:effectLst/>
                        <a:latin typeface="+mn-lt"/>
                        <a:ea typeface="+mn-ea"/>
                        <a:cs typeface="+mn-cs"/>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4335510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rot="5400000">
            <a:off x="8697681" y="-65001"/>
            <a:ext cx="351448" cy="481450"/>
          </a:xfrm>
        </p:spPr>
        <p:txBody>
          <a:bodyPr/>
          <a:lstStyle/>
          <a:p>
            <a:fld id="{B383C57C-80DA-45D5-BFE5-7583B8192761}" type="slidenum">
              <a:rPr lang="en-US" smtClean="0"/>
              <a:pPr/>
              <a:t>11</a:t>
            </a:fld>
            <a:endParaRPr lang="en-US"/>
          </a:p>
        </p:txBody>
      </p:sp>
      <p:sp>
        <p:nvSpPr>
          <p:cNvPr id="10" name="Title 1"/>
          <p:cNvSpPr txBox="1">
            <a:spLocks/>
          </p:cNvSpPr>
          <p:nvPr/>
        </p:nvSpPr>
        <p:spPr>
          <a:xfrm>
            <a:off x="296974" y="86576"/>
            <a:ext cx="7677150" cy="965200"/>
          </a:xfrm>
          <a:prstGeom prst="rect">
            <a:avLst/>
          </a:prstGeom>
        </p:spPr>
        <p:txBody>
          <a:bodyPr vert="horz" lIns="91440" tIns="45720" rIns="91440" bIns="45720" rtlCol="0" anchor="ctr">
            <a:normAutofit/>
          </a:bodyPr>
          <a:lstStyle>
            <a:lvl1pPr algn="l" defTabSz="914400" rtl="0" eaLnBrk="1" latinLnBrk="0" hangingPunct="1">
              <a:lnSpc>
                <a:spcPts val="2700"/>
              </a:lnSpc>
              <a:spcBef>
                <a:spcPct val="0"/>
              </a:spcBef>
              <a:buNone/>
              <a:defRPr lang="en-US" sz="3000" b="1" i="0" kern="1200" cap="all" dirty="0" smtClean="0">
                <a:solidFill>
                  <a:schemeClr val="tx1"/>
                </a:solidFill>
                <a:latin typeface="Arial Bold"/>
                <a:ea typeface="+mj-ea"/>
                <a:cs typeface="Arial Bold"/>
              </a:defRPr>
            </a:lvl1pPr>
          </a:lstStyle>
          <a:p>
            <a:r>
              <a:rPr lang="en-US" dirty="0" smtClean="0"/>
              <a:t>Project </a:t>
            </a:r>
            <a:r>
              <a:rPr lang="en-US" dirty="0" smtClean="0">
                <a:solidFill>
                  <a:srgbClr val="00B0F0"/>
                </a:solidFill>
              </a:rPr>
              <a:t>status</a:t>
            </a:r>
            <a:endParaRPr lang="en-US" dirty="0">
              <a:solidFill>
                <a:srgbClr val="00B0F0"/>
              </a:solidFill>
            </a:endParaRPr>
          </a:p>
        </p:txBody>
      </p:sp>
      <p:sp>
        <p:nvSpPr>
          <p:cNvPr id="11" name="Slide Number Placeholder 2"/>
          <p:cNvSpPr txBox="1">
            <a:spLocks/>
          </p:cNvSpPr>
          <p:nvPr/>
        </p:nvSpPr>
        <p:spPr>
          <a:xfrm rot="5400000">
            <a:off x="8697681" y="-65001"/>
            <a:ext cx="351448" cy="481450"/>
          </a:xfrm>
          <a:prstGeom prst="rect">
            <a:avLst/>
          </a:prstGeom>
        </p:spPr>
        <p:txBody>
          <a:bodyPr vert="vert270" lIns="91440" tIns="45720" rIns="91440" bIns="45720" rtlCol="0" anchor="ctr"/>
          <a:lstStyle>
            <a:defPPr>
              <a:defRPr lang="en-US"/>
            </a:defPPr>
            <a:lvl1pPr marL="0" algn="ctr" defTabSz="914400" rtl="0" eaLnBrk="1" latinLnBrk="0" hangingPunct="1">
              <a:defRPr lang="en-US" sz="2000" b="1" kern="1200" smtClean="0">
                <a:solidFill>
                  <a:srgbClr val="606060"/>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83C57C-80DA-45D5-BFE5-7583B8192761}" type="slidenum">
              <a:rPr lang="en-US" smtClean="0"/>
              <a:pPr/>
              <a:t>11</a:t>
            </a:fld>
            <a:endParaRPr lang="en-US" dirty="0"/>
          </a:p>
        </p:txBody>
      </p:sp>
      <p:graphicFrame>
        <p:nvGraphicFramePr>
          <p:cNvPr id="23" name="Table 22"/>
          <p:cNvGraphicFramePr>
            <a:graphicFrameLocks noGrp="1"/>
          </p:cNvGraphicFramePr>
          <p:nvPr>
            <p:extLst>
              <p:ext uri="{D42A27DB-BD31-4B8C-83A1-F6EECF244321}">
                <p14:modId xmlns:p14="http://schemas.microsoft.com/office/powerpoint/2010/main" val="2335495501"/>
              </p:ext>
            </p:extLst>
          </p:nvPr>
        </p:nvGraphicFramePr>
        <p:xfrm>
          <a:off x="385635" y="812945"/>
          <a:ext cx="8043989" cy="304800"/>
        </p:xfrm>
        <a:graphic>
          <a:graphicData uri="http://schemas.openxmlformats.org/drawingml/2006/table">
            <a:tbl>
              <a:tblPr firstRow="1" bandRow="1">
                <a:tableStyleId>{5C22544A-7EE6-4342-B048-85BDC9FD1C3A}</a:tableStyleId>
              </a:tblPr>
              <a:tblGrid>
                <a:gridCol w="8043989"/>
              </a:tblGrid>
              <a:tr h="254654">
                <a:tc>
                  <a:txBody>
                    <a:bodyPr/>
                    <a:lstStyle/>
                    <a:p>
                      <a:r>
                        <a:rPr lang="en-US" sz="1400" i="0" dirty="0" smtClean="0"/>
                        <a:t>ISSUES &amp; RISKS – contd.</a:t>
                      </a:r>
                      <a:endParaRPr lang="en-US" sz="1400" i="0" dirty="0"/>
                    </a:p>
                  </a:txBody>
                  <a:tcPr>
                    <a:solidFill>
                      <a:srgbClr val="00B0F0"/>
                    </a:solidFill>
                  </a:tcPr>
                </a:tc>
              </a:tr>
            </a:tbl>
          </a:graphicData>
        </a:graphic>
      </p:graphicFrame>
      <p:graphicFrame>
        <p:nvGraphicFramePr>
          <p:cNvPr id="24" name="Group 984"/>
          <p:cNvGraphicFramePr>
            <a:graphicFrameLocks noGrp="1"/>
          </p:cNvGraphicFramePr>
          <p:nvPr>
            <p:extLst>
              <p:ext uri="{D42A27DB-BD31-4B8C-83A1-F6EECF244321}">
                <p14:modId xmlns:p14="http://schemas.microsoft.com/office/powerpoint/2010/main" val="3467379836"/>
              </p:ext>
            </p:extLst>
          </p:nvPr>
        </p:nvGraphicFramePr>
        <p:xfrm>
          <a:off x="394911" y="1146144"/>
          <a:ext cx="8034461" cy="3284182"/>
        </p:xfrm>
        <a:graphic>
          <a:graphicData uri="http://schemas.openxmlformats.org/drawingml/2006/table">
            <a:tbl>
              <a:tblPr/>
              <a:tblGrid>
                <a:gridCol w="1500564"/>
                <a:gridCol w="1171575"/>
                <a:gridCol w="3467100"/>
                <a:gridCol w="795839"/>
                <a:gridCol w="1099383"/>
              </a:tblGrid>
              <a:tr h="265173">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200" b="1" i="0" u="none" strike="noStrike" cap="none" normalizeH="0" baseline="0" dirty="0" smtClean="0">
                          <a:ln>
                            <a:noFill/>
                          </a:ln>
                          <a:solidFill>
                            <a:srgbClr val="606060"/>
                          </a:solidFill>
                          <a:effectLst/>
                          <a:latin typeface="Arial" charset="0"/>
                          <a:cs typeface="Arial" charset="0"/>
                        </a:rPr>
                        <a:t>Issue/Risk</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defRPr/>
                      </a:pPr>
                      <a:r>
                        <a:rPr kumimoji="0" lang="en-US" sz="1200" b="1" i="0" u="none" strike="noStrike" cap="none" normalizeH="0" baseline="0" dirty="0" smtClean="0">
                          <a:ln>
                            <a:noFill/>
                          </a:ln>
                          <a:solidFill>
                            <a:srgbClr val="606060"/>
                          </a:solidFill>
                          <a:effectLst/>
                          <a:latin typeface="Arial" charset="0"/>
                          <a:cs typeface="Arial" charset="0"/>
                        </a:rPr>
                        <a:t>Status</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200" b="1" i="0" u="none" strike="noStrike" cap="none" normalizeH="0" baseline="0" dirty="0" smtClean="0">
                          <a:ln>
                            <a:noFill/>
                          </a:ln>
                          <a:solidFill>
                            <a:srgbClr val="606060"/>
                          </a:solidFill>
                          <a:effectLst/>
                          <a:latin typeface="Arial" charset="0"/>
                          <a:cs typeface="Arial" charset="0"/>
                        </a:rPr>
                        <a:t>Detail</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defRPr/>
                      </a:pPr>
                      <a:r>
                        <a:rPr kumimoji="0" lang="en-US" sz="1200" b="1" i="0" u="none" strike="noStrike" cap="none" normalizeH="0" baseline="0" dirty="0" smtClean="0">
                          <a:ln>
                            <a:noFill/>
                          </a:ln>
                          <a:solidFill>
                            <a:srgbClr val="606060"/>
                          </a:solidFill>
                          <a:effectLst/>
                          <a:latin typeface="Arial" charset="0"/>
                          <a:cs typeface="Arial" charset="0"/>
                        </a:rPr>
                        <a:t>Impact</a:t>
                      </a:r>
                    </a:p>
                    <a:p>
                      <a:pPr marL="0" marR="0" lvl="0" indent="0" algn="ctr" defTabSz="895350" rtl="0" eaLnBrk="0" fontAlgn="base" latinLnBrk="0" hangingPunct="0">
                        <a:lnSpc>
                          <a:spcPct val="100000"/>
                        </a:lnSpc>
                        <a:spcBef>
                          <a:spcPct val="0"/>
                        </a:spcBef>
                        <a:spcAft>
                          <a:spcPct val="0"/>
                        </a:spcAft>
                        <a:buClrTx/>
                        <a:buSzPct val="120000"/>
                        <a:buFontTx/>
                        <a:buNone/>
                        <a:tabLst/>
                      </a:pPr>
                      <a:endParaRPr kumimoji="0" lang="en-US" sz="1200" b="1" i="0" u="none" strike="noStrike" cap="none" normalizeH="0" baseline="0" dirty="0" smtClean="0">
                        <a:ln>
                          <a:noFill/>
                        </a:ln>
                        <a:solidFill>
                          <a:srgbClr val="606060"/>
                        </a:solidFill>
                        <a:effectLst/>
                        <a:latin typeface="Arial" charset="0"/>
                        <a:cs typeface="Arial" charset="0"/>
                      </a:endParaRP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200" b="1" i="0" u="none" strike="noStrike" cap="none" normalizeH="0" baseline="0" dirty="0" smtClean="0">
                          <a:ln>
                            <a:noFill/>
                          </a:ln>
                          <a:solidFill>
                            <a:srgbClr val="606060"/>
                          </a:solidFill>
                          <a:effectLst/>
                          <a:latin typeface="Arial" charset="0"/>
                          <a:cs typeface="Arial" charset="0"/>
                        </a:rPr>
                        <a:t>Owner</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353142">
                <a:tc>
                  <a:txBody>
                    <a:bodyPr/>
                    <a:lstStyle/>
                    <a:p>
                      <a:pPr marL="52388" indent="0" algn="ctr"/>
                      <a:r>
                        <a:rPr lang="en-US" sz="800" dirty="0" smtClean="0"/>
                        <a:t>Client</a:t>
                      </a: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800" dirty="0" smtClean="0">
                          <a:effectLst/>
                          <a:latin typeface="+mn-lt"/>
                          <a:ea typeface="Times New Roman"/>
                        </a:rPr>
                        <a:t>Open</a:t>
                      </a: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algn="l"/>
                      <a:r>
                        <a:rPr lang="en-US" sz="800" b="0" i="0" kern="1200" dirty="0" smtClean="0">
                          <a:solidFill>
                            <a:schemeClr val="tx1"/>
                          </a:solidFill>
                          <a:effectLst/>
                          <a:latin typeface="+mn-lt"/>
                          <a:ea typeface="+mn-ea"/>
                          <a:cs typeface="+mn-cs"/>
                        </a:rPr>
                        <a:t>Should</a:t>
                      </a:r>
                      <a:r>
                        <a:rPr lang="en-US" sz="800" b="0" i="0" kern="1200" baseline="0" dirty="0" smtClean="0">
                          <a:solidFill>
                            <a:schemeClr val="tx1"/>
                          </a:solidFill>
                          <a:effectLst/>
                          <a:latin typeface="+mn-lt"/>
                          <a:ea typeface="+mn-ea"/>
                          <a:cs typeface="+mn-cs"/>
                        </a:rPr>
                        <a:t> we support position/trade uploads</a:t>
                      </a:r>
                      <a:endParaRPr lang="en-US" sz="800" b="0" i="0" kern="1200" dirty="0" smtClean="0">
                        <a:solidFill>
                          <a:schemeClr val="tx1"/>
                        </a:solidFill>
                        <a:effectLst/>
                        <a:latin typeface="+mn-lt"/>
                        <a:ea typeface="+mn-ea"/>
                        <a:cs typeface="+mn-cs"/>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marR="0" indent="0" algn="ctr" defTabSz="914400" rtl="0" eaLnBrk="1" fontAlgn="auto" latinLnBrk="0" hangingPunct="1">
                        <a:lnSpc>
                          <a:spcPct val="100000"/>
                        </a:lnSpc>
                        <a:spcBef>
                          <a:spcPts val="0"/>
                        </a:spcBef>
                        <a:spcAft>
                          <a:spcPts val="0"/>
                        </a:spcAft>
                        <a:buClrTx/>
                        <a:buSzTx/>
                        <a:buFontTx/>
                        <a:buNone/>
                        <a:tabLst/>
                        <a:defRPr/>
                      </a:pPr>
                      <a:r>
                        <a:rPr lang="en-US" sz="800" dirty="0" smtClean="0"/>
                        <a:t>Client</a:t>
                      </a: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Symbol"/>
                        <a:buNone/>
                        <a:tabLst>
                          <a:tab pos="102870" algn="l"/>
                        </a:tabLst>
                        <a:defRPr/>
                      </a:pPr>
                      <a:r>
                        <a:rPr lang="en-US" sz="800" dirty="0" smtClean="0">
                          <a:effectLst/>
                          <a:latin typeface="+mn-lt"/>
                          <a:ea typeface="Times New Roman"/>
                        </a:rPr>
                        <a:t>Open</a:t>
                      </a: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algn="l"/>
                      <a:r>
                        <a:rPr lang="en-US" sz="800" b="0" i="0" kern="1200" dirty="0" smtClean="0">
                          <a:solidFill>
                            <a:schemeClr val="tx1"/>
                          </a:solidFill>
                          <a:effectLst/>
                          <a:latin typeface="+mn-lt"/>
                          <a:ea typeface="+mn-ea"/>
                          <a:cs typeface="+mn-cs"/>
                        </a:rPr>
                        <a:t>How will reporting work for positions in Atlas?</a:t>
                      </a:r>
                      <a:endParaRPr lang="en-US" sz="800" b="0" i="0" kern="1200" dirty="0" smtClean="0">
                        <a:solidFill>
                          <a:schemeClr val="tx1"/>
                        </a:solidFill>
                        <a:effectLst/>
                        <a:latin typeface="+mn-lt"/>
                        <a:ea typeface="+mn-ea"/>
                        <a:cs typeface="+mn-cs"/>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marR="0" indent="0" algn="ctr" defTabSz="914400" rtl="0" eaLnBrk="1" fontAlgn="auto" latinLnBrk="0" hangingPunct="1">
                        <a:lnSpc>
                          <a:spcPct val="100000"/>
                        </a:lnSpc>
                        <a:spcBef>
                          <a:spcPts val="0"/>
                        </a:spcBef>
                        <a:spcAft>
                          <a:spcPts val="0"/>
                        </a:spcAft>
                        <a:buClrTx/>
                        <a:buSzTx/>
                        <a:buFontTx/>
                        <a:buNone/>
                        <a:tabLst/>
                        <a:defRPr/>
                      </a:pPr>
                      <a:r>
                        <a:rPr lang="en-US" sz="800" dirty="0" smtClean="0"/>
                        <a:t>Client</a:t>
                      </a: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Symbol"/>
                        <a:buNone/>
                        <a:tabLst>
                          <a:tab pos="102870" algn="l"/>
                        </a:tabLst>
                        <a:defRPr/>
                      </a:pPr>
                      <a:r>
                        <a:rPr lang="en-US" sz="800" dirty="0" smtClean="0">
                          <a:effectLst/>
                          <a:latin typeface="+mn-lt"/>
                          <a:ea typeface="Times New Roman"/>
                        </a:rPr>
                        <a:t>Open</a:t>
                      </a: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lvl="0" algn="l"/>
                      <a:r>
                        <a:rPr lang="en-US" sz="800" kern="1200" dirty="0" smtClean="0">
                          <a:solidFill>
                            <a:schemeClr val="tx1"/>
                          </a:solidFill>
                          <a:effectLst/>
                          <a:latin typeface="+mn-lt"/>
                          <a:ea typeface="+mn-ea"/>
                          <a:cs typeface="+mn-cs"/>
                        </a:rPr>
                        <a:t>How do we </a:t>
                      </a:r>
                      <a:r>
                        <a:rPr lang="en-US" sz="800" kern="1200" dirty="0" err="1" smtClean="0">
                          <a:solidFill>
                            <a:schemeClr val="tx1"/>
                          </a:solidFill>
                          <a:effectLst/>
                          <a:latin typeface="+mn-lt"/>
                          <a:ea typeface="+mn-ea"/>
                          <a:cs typeface="+mn-cs"/>
                        </a:rPr>
                        <a:t>initialise</a:t>
                      </a:r>
                      <a:r>
                        <a:rPr lang="en-US" sz="800" kern="1200" dirty="0" smtClean="0">
                          <a:solidFill>
                            <a:schemeClr val="tx1"/>
                          </a:solidFill>
                          <a:effectLst/>
                          <a:latin typeface="+mn-lt"/>
                          <a:ea typeface="+mn-ea"/>
                          <a:cs typeface="+mn-cs"/>
                        </a:rPr>
                        <a:t> positions</a:t>
                      </a:r>
                      <a:endParaRPr lang="en-US" sz="800" kern="1200" dirty="0">
                        <a:solidFill>
                          <a:schemeClr val="tx1"/>
                        </a:solidFill>
                        <a:effectLst/>
                        <a:latin typeface="+mn-lt"/>
                        <a:ea typeface="+mn-ea"/>
                        <a:cs typeface="+mn-cs"/>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indent="0" algn="ct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endParaRPr lang="en-US" sz="800" b="0" i="0" kern="1200" dirty="0" smtClean="0">
                        <a:solidFill>
                          <a:schemeClr val="tx1"/>
                        </a:solidFill>
                        <a:effectLst/>
                        <a:latin typeface="+mn-lt"/>
                        <a:ea typeface="+mn-ea"/>
                        <a:cs typeface="+mn-cs"/>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indent="0" algn="ct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52388" marR="0" lvl="0" indent="0" algn="l">
                        <a:spcBef>
                          <a:spcPts val="0"/>
                        </a:spcBef>
                        <a:spcAft>
                          <a:spcPts val="0"/>
                        </a:spcAft>
                        <a:buFont typeface="Symbol"/>
                        <a:buNone/>
                        <a:tabLst>
                          <a:tab pos="102870" algn="l"/>
                        </a:tabLst>
                      </a:pP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indent="0" algn="ct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52388" marR="0" lvl="0" indent="0" algn="l">
                        <a:spcBef>
                          <a:spcPts val="0"/>
                        </a:spcBef>
                        <a:spcAft>
                          <a:spcPts val="0"/>
                        </a:spcAft>
                        <a:buFont typeface="Symbol"/>
                        <a:buNone/>
                        <a:tabLst>
                          <a:tab pos="102870" algn="l"/>
                        </a:tabLst>
                      </a:pP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indent="0" algn="ct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lvl="0" algn="l"/>
                      <a:endParaRPr lang="en-US" sz="800" kern="1200" dirty="0">
                        <a:solidFill>
                          <a:schemeClr val="tx1"/>
                        </a:solidFill>
                        <a:effectLst/>
                        <a:latin typeface="+mn-lt"/>
                        <a:ea typeface="+mn-ea"/>
                        <a:cs typeface="+mn-cs"/>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indent="0" algn="ct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lvl="0" algn="l"/>
                      <a:endParaRPr lang="en-US" sz="800" kern="1200" dirty="0">
                        <a:solidFill>
                          <a:schemeClr val="tx1"/>
                        </a:solidFill>
                        <a:effectLst/>
                        <a:latin typeface="+mn-lt"/>
                        <a:ea typeface="+mn-ea"/>
                        <a:cs typeface="+mn-cs"/>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81953658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rot="5400000">
            <a:off x="8687786" y="156048"/>
            <a:ext cx="351448" cy="481450"/>
          </a:xfrm>
        </p:spPr>
        <p:txBody>
          <a:bodyPr/>
          <a:lstStyle/>
          <a:p>
            <a:fld id="{B383C57C-80DA-45D5-BFE5-7583B8192761}" type="slidenum">
              <a:rPr lang="en-US" smtClean="0"/>
              <a:pPr/>
              <a:t>12</a:t>
            </a:fld>
            <a:endParaRPr lang="en-US"/>
          </a:p>
        </p:txBody>
      </p:sp>
      <p:sp>
        <p:nvSpPr>
          <p:cNvPr id="3" name="Title 1"/>
          <p:cNvSpPr txBox="1">
            <a:spLocks/>
          </p:cNvSpPr>
          <p:nvPr/>
        </p:nvSpPr>
        <p:spPr>
          <a:xfrm>
            <a:off x="360363" y="323850"/>
            <a:ext cx="7677150" cy="965200"/>
          </a:xfrm>
          <a:prstGeom prst="rect">
            <a:avLst/>
          </a:prstGeom>
        </p:spPr>
        <p:txBody>
          <a:bodyPr/>
          <a:lstStyle>
            <a:lvl1pPr algn="l" defTabSz="914400" rtl="0" eaLnBrk="1" latinLnBrk="0" hangingPunct="1">
              <a:lnSpc>
                <a:spcPts val="2700"/>
              </a:lnSpc>
              <a:spcBef>
                <a:spcPct val="0"/>
              </a:spcBef>
              <a:buNone/>
              <a:defRPr lang="en-US" sz="3000" b="1" i="0" kern="1200" cap="all" dirty="0" smtClean="0">
                <a:solidFill>
                  <a:schemeClr val="tx1"/>
                </a:solidFill>
                <a:latin typeface="Arial Bold"/>
                <a:ea typeface="+mj-ea"/>
                <a:cs typeface="Arial Bold"/>
              </a:defRPr>
            </a:lvl1pPr>
          </a:lstStyle>
          <a:p>
            <a:r>
              <a:rPr lang="en-US" dirty="0" smtClean="0"/>
              <a:t>business</a:t>
            </a:r>
            <a:r>
              <a:rPr lang="en-US" dirty="0" smtClean="0">
                <a:solidFill>
                  <a:srgbClr val="99FF66"/>
                </a:solidFill>
              </a:rPr>
              <a:t> </a:t>
            </a:r>
            <a:r>
              <a:rPr lang="en-US" dirty="0" smtClean="0">
                <a:solidFill>
                  <a:srgbClr val="00B0F0"/>
                </a:solidFill>
              </a:rPr>
              <a:t>milestones</a:t>
            </a:r>
            <a:endParaRPr lang="en-US" dirty="0">
              <a:solidFill>
                <a:srgbClr val="00B0F0"/>
              </a:solidFill>
            </a:endParaRPr>
          </a:p>
        </p:txBody>
      </p:sp>
      <p:sp>
        <p:nvSpPr>
          <p:cNvPr id="4" name="Content Placeholder 2"/>
          <p:cNvSpPr txBox="1">
            <a:spLocks/>
          </p:cNvSpPr>
          <p:nvPr/>
        </p:nvSpPr>
        <p:spPr>
          <a:xfrm>
            <a:off x="371475" y="1333500"/>
            <a:ext cx="8132763" cy="5257799"/>
          </a:xfrm>
          <a:prstGeom prst="rect">
            <a:avLst/>
          </a:prstGeom>
        </p:spPr>
        <p:txBody>
          <a:bodyPr>
            <a:noAutofit/>
          </a:bodyPr>
          <a:lstStyle>
            <a:lvl1pPr marL="0" indent="0" algn="l" defTabSz="914400" rtl="0" eaLnBrk="1" latinLnBrk="0" hangingPunct="1">
              <a:spcBef>
                <a:spcPts val="600"/>
              </a:spcBef>
              <a:spcAft>
                <a:spcPts val="300"/>
              </a:spcAft>
              <a:buFont typeface="Arial" pitchFamily="34" charset="0"/>
              <a:buNone/>
              <a:defRPr lang="en-US" sz="2000" b="1" kern="1200" cap="all" dirty="0" smtClean="0">
                <a:solidFill>
                  <a:schemeClr val="tx1"/>
                </a:solidFill>
                <a:latin typeface="Arial"/>
                <a:ea typeface="+mn-ea"/>
                <a:cs typeface="Arial"/>
              </a:defRPr>
            </a:lvl1pPr>
            <a:lvl2pPr marL="742950" indent="-285750" algn="l" defTabSz="914400" rtl="0" eaLnBrk="1" latinLnBrk="0" hangingPunct="1">
              <a:spcBef>
                <a:spcPts val="800"/>
              </a:spcBef>
              <a:spcAft>
                <a:spcPts val="300"/>
              </a:spcAft>
              <a:buClr>
                <a:schemeClr val="accent2"/>
              </a:buClr>
              <a:buFont typeface="Lucida Grande"/>
              <a:buChar char="»"/>
              <a:defRPr lang="en-US" sz="1800" b="0" kern="1200" cap="none" dirty="0" smtClean="0">
                <a:solidFill>
                  <a:srgbClr val="000000"/>
                </a:solidFill>
                <a:latin typeface="Arial"/>
                <a:ea typeface="+mn-ea"/>
                <a:cs typeface="Arial"/>
              </a:defRPr>
            </a:lvl2pPr>
            <a:lvl3pPr marL="1143000" indent="-228600" algn="l" defTabSz="914400" rtl="0" eaLnBrk="1" latinLnBrk="0" hangingPunct="1">
              <a:spcBef>
                <a:spcPts val="600"/>
              </a:spcBef>
              <a:spcAft>
                <a:spcPts val="200"/>
              </a:spcAft>
              <a:buClr>
                <a:schemeClr val="accent2"/>
              </a:buClr>
              <a:buFont typeface="Arial" pitchFamily="34" charset="0"/>
              <a:buChar char="•"/>
              <a:defRPr lang="en-US" sz="1800" b="0" kern="1200" cap="none" dirty="0" smtClean="0">
                <a:solidFill>
                  <a:srgbClr val="000000"/>
                </a:solidFill>
                <a:latin typeface="Arial"/>
                <a:ea typeface="+mn-ea"/>
                <a:cs typeface="Arial"/>
              </a:defRPr>
            </a:lvl3pPr>
            <a:lvl4pPr marL="1600200" indent="-228600" algn="l" defTabSz="914400" rtl="0" eaLnBrk="1" latinLnBrk="0" hangingPunct="1">
              <a:spcBef>
                <a:spcPts val="1300"/>
              </a:spcBef>
              <a:buClr>
                <a:srgbClr val="F78E1E"/>
              </a:buClr>
              <a:buFont typeface="Arial" pitchFamily="34" charset="0"/>
              <a:buChar char="–"/>
              <a:defRPr lang="en-US" sz="1400" b="0" kern="1200" cap="none" dirty="0" smtClean="0">
                <a:solidFill>
                  <a:srgbClr val="000000"/>
                </a:solidFill>
                <a:latin typeface="Arial"/>
                <a:ea typeface="+mn-ea"/>
                <a:cs typeface="Arial"/>
              </a:defRPr>
            </a:lvl4pPr>
            <a:lvl5pPr marL="2057400" indent="-228600" algn="l" defTabSz="914400" rtl="0" eaLnBrk="1" latinLnBrk="0" hangingPunct="1">
              <a:spcBef>
                <a:spcPts val="1200"/>
              </a:spcBef>
              <a:buClr>
                <a:schemeClr val="accent2"/>
              </a:buClr>
              <a:buFont typeface="Arial" pitchFamily="34" charset="0"/>
              <a:buChar char="–"/>
              <a:defRPr lang="en-US" sz="1400" b="0" kern="1200" cap="none" dirty="0" smtClean="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200" b="0" cap="none" smtClean="0"/>
          </a:p>
          <a:p>
            <a:endParaRPr lang="en-US" sz="1200" b="0" cap="none" smtClean="0"/>
          </a:p>
          <a:p>
            <a:pPr>
              <a:buClr>
                <a:srgbClr val="81DD00"/>
              </a:buClr>
            </a:pPr>
            <a:r>
              <a:rPr lang="en-US" sz="1200" cap="none" smtClean="0"/>
              <a:t/>
            </a:r>
            <a:br>
              <a:rPr lang="en-US" sz="1200" cap="none" smtClean="0"/>
            </a:br>
            <a:endParaRPr lang="en-US" sz="1200" cap="none"/>
          </a:p>
        </p:txBody>
      </p:sp>
      <p:pic>
        <p:nvPicPr>
          <p:cNvPr id="1075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9863" y="1333500"/>
            <a:ext cx="8334375" cy="48853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2510424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383C57C-80DA-45D5-BFE5-7583B8192761}" type="slidenum">
              <a:rPr lang="en-US" smtClean="0"/>
              <a:pPr/>
              <a:t>13</a:t>
            </a:fld>
            <a:endParaRPr lang="en-US"/>
          </a:p>
        </p:txBody>
      </p:sp>
      <p:sp>
        <p:nvSpPr>
          <p:cNvPr id="4" name="Title 1"/>
          <p:cNvSpPr txBox="1">
            <a:spLocks/>
          </p:cNvSpPr>
          <p:nvPr/>
        </p:nvSpPr>
        <p:spPr>
          <a:xfrm>
            <a:off x="207296" y="237167"/>
            <a:ext cx="7677150" cy="965200"/>
          </a:xfrm>
          <a:prstGeom prst="rect">
            <a:avLst/>
          </a:prstGeom>
        </p:spPr>
        <p:txBody>
          <a:bodyPr/>
          <a:lstStyle>
            <a:lvl1pPr algn="l" defTabSz="914400" rtl="0" eaLnBrk="1" latinLnBrk="0" hangingPunct="1">
              <a:lnSpc>
                <a:spcPts val="2700"/>
              </a:lnSpc>
              <a:spcBef>
                <a:spcPct val="0"/>
              </a:spcBef>
              <a:buNone/>
              <a:defRPr lang="en-US" sz="3000" b="1" i="0" kern="1200" cap="all" dirty="0" smtClean="0">
                <a:solidFill>
                  <a:schemeClr val="tx1"/>
                </a:solidFill>
                <a:latin typeface="Arial Bold"/>
                <a:ea typeface="+mj-ea"/>
                <a:cs typeface="Arial Bold"/>
              </a:defRPr>
            </a:lvl1pPr>
          </a:lstStyle>
          <a:p>
            <a:r>
              <a:rPr lang="en-US" dirty="0" smtClean="0"/>
              <a:t>CHANGE CONTROL </a:t>
            </a:r>
            <a:r>
              <a:rPr lang="en-US" dirty="0" smtClean="0">
                <a:solidFill>
                  <a:srgbClr val="00B0F0"/>
                </a:solidFill>
              </a:rPr>
              <a:t>REQUEST</a:t>
            </a:r>
            <a:endParaRPr lang="en-US" dirty="0">
              <a:solidFill>
                <a:srgbClr val="00B0F0"/>
              </a:solidFill>
            </a:endParaRPr>
          </a:p>
        </p:txBody>
      </p:sp>
      <p:sp>
        <p:nvSpPr>
          <p:cNvPr id="5" name="Content Placeholder 2"/>
          <p:cNvSpPr txBox="1">
            <a:spLocks/>
          </p:cNvSpPr>
          <p:nvPr/>
        </p:nvSpPr>
        <p:spPr>
          <a:xfrm>
            <a:off x="1068778" y="1357168"/>
            <a:ext cx="7350827" cy="5304889"/>
          </a:xfrm>
          <a:prstGeom prst="rect">
            <a:avLst/>
          </a:prstGeom>
        </p:spPr>
        <p:txBody>
          <a:bodyPr/>
          <a:lstStyle>
            <a:lvl1pPr marL="0" indent="0" algn="l" defTabSz="914400" rtl="0" eaLnBrk="1" latinLnBrk="0" hangingPunct="1">
              <a:spcBef>
                <a:spcPts val="600"/>
              </a:spcBef>
              <a:spcAft>
                <a:spcPts val="300"/>
              </a:spcAft>
              <a:buFont typeface="Arial" pitchFamily="34" charset="0"/>
              <a:buNone/>
              <a:defRPr lang="en-US" sz="2000" b="1" kern="1200" cap="all" dirty="0" smtClean="0">
                <a:solidFill>
                  <a:schemeClr val="tx1"/>
                </a:solidFill>
                <a:latin typeface="Arial"/>
                <a:ea typeface="+mn-ea"/>
                <a:cs typeface="Arial"/>
              </a:defRPr>
            </a:lvl1pPr>
            <a:lvl2pPr marL="742950" indent="-285750" algn="l" defTabSz="914400" rtl="0" eaLnBrk="1" latinLnBrk="0" hangingPunct="1">
              <a:spcBef>
                <a:spcPts val="800"/>
              </a:spcBef>
              <a:spcAft>
                <a:spcPts val="300"/>
              </a:spcAft>
              <a:buClr>
                <a:schemeClr val="accent2"/>
              </a:buClr>
              <a:buFont typeface="Lucida Grande"/>
              <a:buChar char="»"/>
              <a:defRPr lang="en-US" sz="1800" b="0" kern="1200" cap="none" dirty="0" smtClean="0">
                <a:solidFill>
                  <a:srgbClr val="000000"/>
                </a:solidFill>
                <a:latin typeface="Arial"/>
                <a:ea typeface="+mn-ea"/>
                <a:cs typeface="Arial"/>
              </a:defRPr>
            </a:lvl2pPr>
            <a:lvl3pPr marL="1143000" indent="-228600" algn="l" defTabSz="914400" rtl="0" eaLnBrk="1" latinLnBrk="0" hangingPunct="1">
              <a:spcBef>
                <a:spcPts val="600"/>
              </a:spcBef>
              <a:spcAft>
                <a:spcPts val="200"/>
              </a:spcAft>
              <a:buClr>
                <a:schemeClr val="accent2"/>
              </a:buClr>
              <a:buFont typeface="Arial" pitchFamily="34" charset="0"/>
              <a:buChar char="•"/>
              <a:defRPr lang="en-US" sz="1800" b="0" kern="1200" cap="none" dirty="0" smtClean="0">
                <a:solidFill>
                  <a:srgbClr val="000000"/>
                </a:solidFill>
                <a:latin typeface="Arial"/>
                <a:ea typeface="+mn-ea"/>
                <a:cs typeface="Arial"/>
              </a:defRPr>
            </a:lvl3pPr>
            <a:lvl4pPr marL="1600200" indent="-228600" algn="l" defTabSz="914400" rtl="0" eaLnBrk="1" latinLnBrk="0" hangingPunct="1">
              <a:spcBef>
                <a:spcPts val="1300"/>
              </a:spcBef>
              <a:buClr>
                <a:srgbClr val="F78E1E"/>
              </a:buClr>
              <a:buFont typeface="Arial" pitchFamily="34" charset="0"/>
              <a:buChar char="–"/>
              <a:defRPr lang="en-US" sz="1400" b="0" kern="1200" cap="none" dirty="0" smtClean="0">
                <a:solidFill>
                  <a:srgbClr val="000000"/>
                </a:solidFill>
                <a:latin typeface="Arial"/>
                <a:ea typeface="+mn-ea"/>
                <a:cs typeface="Arial"/>
              </a:defRPr>
            </a:lvl4pPr>
            <a:lvl5pPr marL="2057400" indent="-228600" algn="l" defTabSz="914400" rtl="0" eaLnBrk="1" latinLnBrk="0" hangingPunct="1">
              <a:spcBef>
                <a:spcPts val="1200"/>
              </a:spcBef>
              <a:buClr>
                <a:schemeClr val="accent2"/>
              </a:buClr>
              <a:buFont typeface="Arial" pitchFamily="34" charset="0"/>
              <a:buChar char="–"/>
              <a:defRPr lang="en-US" sz="1400" b="0" kern="1200" cap="none" dirty="0" smtClean="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cap="none" smtClean="0"/>
              <a:t/>
            </a:r>
            <a:br>
              <a:rPr lang="en-US" b="0" cap="none" smtClean="0"/>
            </a:br>
            <a:r>
              <a:rPr lang="en-US" b="0" cap="none" smtClean="0"/>
              <a:t/>
            </a:r>
            <a:br>
              <a:rPr lang="en-US" b="0" cap="none" smtClean="0"/>
            </a:br>
            <a:endParaRPr lang="en-US" b="0" cap="none" smtClean="0"/>
          </a:p>
          <a:p>
            <a:endParaRPr lang="en-US"/>
          </a:p>
        </p:txBody>
      </p:sp>
      <p:sp>
        <p:nvSpPr>
          <p:cNvPr id="6" name="Slide Number Placeholder 3"/>
          <p:cNvSpPr txBox="1">
            <a:spLocks/>
          </p:cNvSpPr>
          <p:nvPr/>
        </p:nvSpPr>
        <p:spPr>
          <a:xfrm rot="5400000">
            <a:off x="8687786" y="156048"/>
            <a:ext cx="351448" cy="481450"/>
          </a:xfrm>
          <a:prstGeom prst="rect">
            <a:avLst/>
          </a:prstGeom>
        </p:spPr>
        <p:txBody>
          <a:bodyPr vert="vert270" lIns="91440" tIns="45720" rIns="91440" bIns="45720" rtlCol="0" anchor="ctr"/>
          <a:lstStyle>
            <a:defPPr>
              <a:defRPr lang="en-US"/>
            </a:defPPr>
            <a:lvl1pPr marL="0" algn="ctr" defTabSz="914400" rtl="0" eaLnBrk="1" latinLnBrk="0" hangingPunct="1">
              <a:defRPr lang="en-US" sz="2000" b="1" kern="1200" smtClean="0">
                <a:solidFill>
                  <a:srgbClr val="606060"/>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83C57C-80DA-45D5-BFE5-7583B8192761}" type="slidenum">
              <a:rPr lang="en-US" smtClean="0"/>
              <a:pPr/>
              <a:t>13</a:t>
            </a:fld>
            <a:endParaRPr lang="en-US"/>
          </a:p>
        </p:txBody>
      </p:sp>
      <p:graphicFrame>
        <p:nvGraphicFramePr>
          <p:cNvPr id="9" name="Table 8"/>
          <p:cNvGraphicFramePr>
            <a:graphicFrameLocks noGrp="1"/>
          </p:cNvGraphicFramePr>
          <p:nvPr>
            <p:extLst>
              <p:ext uri="{D42A27DB-BD31-4B8C-83A1-F6EECF244321}">
                <p14:modId xmlns:p14="http://schemas.microsoft.com/office/powerpoint/2010/main" val="772002428"/>
              </p:ext>
            </p:extLst>
          </p:nvPr>
        </p:nvGraphicFramePr>
        <p:xfrm>
          <a:off x="310550" y="719767"/>
          <a:ext cx="8109055" cy="5683900"/>
        </p:xfrm>
        <a:graphic>
          <a:graphicData uri="http://schemas.openxmlformats.org/drawingml/2006/table">
            <a:tbl>
              <a:tblPr firstRow="1" bandRow="1">
                <a:tableStyleId>{5940675A-B579-460E-94D1-54222C63F5DA}</a:tableStyleId>
              </a:tblPr>
              <a:tblGrid>
                <a:gridCol w="8109055"/>
              </a:tblGrid>
              <a:tr h="401800">
                <a:tc>
                  <a:txBody>
                    <a:bodyPr/>
                    <a:lstStyle/>
                    <a:p>
                      <a:r>
                        <a:rPr lang="en-US" sz="1600" dirty="0" smtClean="0"/>
                        <a:t>CHANGE</a:t>
                      </a:r>
                      <a:r>
                        <a:rPr lang="en-US" sz="1600" baseline="0" dirty="0" smtClean="0"/>
                        <a:t> REQUEST #:</a:t>
                      </a:r>
                      <a:endParaRPr lang="en-US" sz="1600" dirty="0"/>
                    </a:p>
                  </a:txBody>
                  <a:tcPr/>
                </a:tc>
              </a:tr>
              <a:tr h="401800">
                <a:tc>
                  <a:txBody>
                    <a:bodyPr/>
                    <a:lstStyle/>
                    <a:p>
                      <a:r>
                        <a:rPr lang="en-US" sz="1200" dirty="0" smtClean="0"/>
                        <a:t>CHANGE REQUEST SUBMITTER:                                                 DATE</a:t>
                      </a:r>
                      <a:r>
                        <a:rPr lang="en-US" sz="1200" baseline="0" dirty="0" smtClean="0"/>
                        <a:t> SUBMITTED:</a:t>
                      </a:r>
                      <a:r>
                        <a:rPr lang="en-US" sz="1200" dirty="0" smtClean="0"/>
                        <a:t> ___/___/___</a:t>
                      </a:r>
                      <a:endParaRPr lang="en-US" sz="1200" dirty="0"/>
                    </a:p>
                  </a:txBody>
                  <a:tcPr/>
                </a:tc>
              </a:tr>
              <a:tr h="401800">
                <a:tc>
                  <a:txBody>
                    <a:bodyPr/>
                    <a:lstStyle/>
                    <a:p>
                      <a:r>
                        <a:rPr lang="en-US" sz="1200" dirty="0" smtClean="0"/>
                        <a:t>CHANGE TYPE:</a:t>
                      </a:r>
                      <a:r>
                        <a:rPr lang="en-US" sz="1200" baseline="0" dirty="0" smtClean="0"/>
                        <a:t> </a:t>
                      </a:r>
                      <a:r>
                        <a:rPr lang="en-US" sz="1050" baseline="0" dirty="0" smtClean="0"/>
                        <a:t>New Requirement: ___  Requirement Change:___ Enhancement:___ Other:________________</a:t>
                      </a:r>
                      <a:endParaRPr lang="en-US" sz="1050" dirty="0"/>
                    </a:p>
                  </a:txBody>
                  <a:tcPr/>
                </a:tc>
              </a:tr>
              <a:tr h="401800">
                <a:tc>
                  <a:txBody>
                    <a:bodyPr/>
                    <a:lstStyle/>
                    <a:p>
                      <a:r>
                        <a:rPr lang="en-US" sz="1200" dirty="0" smtClean="0"/>
                        <a:t>PRIORITY:</a:t>
                      </a:r>
                      <a:r>
                        <a:rPr lang="en-US" sz="1400" dirty="0" smtClean="0"/>
                        <a:t> </a:t>
                      </a:r>
                      <a:r>
                        <a:rPr lang="en-US" sz="1050" dirty="0" smtClean="0"/>
                        <a:t>Emergency:___</a:t>
                      </a:r>
                      <a:r>
                        <a:rPr lang="en-US" sz="1050" baseline="0" dirty="0" smtClean="0"/>
                        <a:t>  Urgent:___   Routine:___                                 Date Required: ___/___/___</a:t>
                      </a:r>
                      <a:endParaRPr lang="en-US" sz="1050" dirty="0"/>
                    </a:p>
                  </a:txBody>
                  <a:tcPr/>
                </a:tc>
              </a:tr>
              <a:tr h="401800">
                <a:tc>
                  <a:txBody>
                    <a:bodyPr/>
                    <a:lstStyle/>
                    <a:p>
                      <a:r>
                        <a:rPr lang="en-US" sz="1200" dirty="0" smtClean="0"/>
                        <a:t>CHANGE</a:t>
                      </a:r>
                      <a:r>
                        <a:rPr lang="en-US" sz="1200" baseline="0" dirty="0" smtClean="0"/>
                        <a:t> DESCRIPTION:</a:t>
                      </a:r>
                      <a:br>
                        <a:rPr lang="en-US" sz="1200" baseline="0" dirty="0" smtClean="0"/>
                      </a:br>
                      <a:r>
                        <a:rPr lang="en-US" sz="1200" baseline="0" dirty="0" smtClean="0"/>
                        <a:t/>
                      </a:r>
                      <a:br>
                        <a:rPr lang="en-US" sz="1200" baseline="0" dirty="0" smtClean="0"/>
                      </a:br>
                      <a:endParaRPr lang="en-US" sz="1400" dirty="0"/>
                    </a:p>
                  </a:txBody>
                  <a:tcPr/>
                </a:tc>
              </a:tr>
              <a:tr h="401800">
                <a:tc>
                  <a:txBody>
                    <a:bodyPr/>
                    <a:lstStyle/>
                    <a:p>
                      <a:r>
                        <a:rPr lang="en-US" sz="1200" dirty="0" smtClean="0"/>
                        <a:t>REASON FOR CHANGE:</a:t>
                      </a:r>
                      <a:br>
                        <a:rPr lang="en-US" sz="1200" dirty="0" smtClean="0"/>
                      </a:br>
                      <a:r>
                        <a:rPr lang="en-US" sz="1200" dirty="0" smtClean="0"/>
                        <a:t/>
                      </a:r>
                      <a:br>
                        <a:rPr lang="en-US" sz="1200" dirty="0" smtClean="0"/>
                      </a:br>
                      <a:endParaRPr lang="en-US" sz="1400" dirty="0"/>
                    </a:p>
                  </a:txBody>
                  <a:tcPr/>
                </a:tc>
              </a:tr>
              <a:tr h="401800">
                <a:tc>
                  <a:txBody>
                    <a:bodyPr/>
                    <a:lstStyle/>
                    <a:p>
                      <a:r>
                        <a:rPr lang="en-US" sz="1400" dirty="0" smtClean="0"/>
                        <a:t>I</a:t>
                      </a:r>
                      <a:r>
                        <a:rPr lang="en-US" sz="1200" dirty="0" smtClean="0"/>
                        <a:t>MPACT ON SCOPE</a:t>
                      </a:r>
                      <a:r>
                        <a:rPr lang="en-US" sz="1200" baseline="0" dirty="0" smtClean="0"/>
                        <a:t> / DEVELOPMENT / RESOURCES / TIMELINE:</a:t>
                      </a:r>
                      <a:br>
                        <a:rPr lang="en-US" sz="1200" baseline="0" dirty="0" smtClean="0"/>
                      </a:br>
                      <a:r>
                        <a:rPr lang="en-US" sz="1200" baseline="0" dirty="0" smtClean="0"/>
                        <a:t/>
                      </a:r>
                      <a:br>
                        <a:rPr lang="en-US" sz="1200" baseline="0" dirty="0" smtClean="0"/>
                      </a:br>
                      <a:endParaRPr lang="en-US" sz="1400" dirty="0"/>
                    </a:p>
                  </a:txBody>
                  <a:tcPr/>
                </a:tc>
              </a:tr>
              <a:tr h="401800">
                <a:tc>
                  <a:txBody>
                    <a:bodyPr/>
                    <a:lstStyle/>
                    <a:p>
                      <a:r>
                        <a:rPr lang="en-US" sz="1200" dirty="0" smtClean="0"/>
                        <a:t>APPROVALS:</a:t>
                      </a:r>
                      <a:r>
                        <a:rPr lang="en-US" sz="1200" baseline="0" dirty="0" smtClean="0"/>
                        <a:t>      </a:t>
                      </a:r>
                      <a:r>
                        <a:rPr lang="en-US" sz="1050" baseline="0" dirty="0" smtClean="0"/>
                        <a:t>Change Approved:___    Change Not Approved:___  Hold (Future Enhancement):___</a:t>
                      </a:r>
                      <a:br>
                        <a:rPr lang="en-US" sz="1050" baseline="0" dirty="0" smtClean="0"/>
                      </a:br>
                      <a:r>
                        <a:rPr lang="en-US" sz="1050" baseline="0" dirty="0" smtClean="0"/>
                        <a:t/>
                      </a:r>
                      <a:br>
                        <a:rPr lang="en-US" sz="1050" baseline="0" dirty="0" smtClean="0"/>
                      </a:br>
                      <a:r>
                        <a:rPr lang="en-US" sz="1050" baseline="0" dirty="0" smtClean="0"/>
                        <a:t>Product Manager: _____________________________________________ Date: ___/___/___</a:t>
                      </a:r>
                      <a:br>
                        <a:rPr lang="en-US" sz="1050" baseline="0" dirty="0" smtClean="0"/>
                      </a:br>
                      <a:r>
                        <a:rPr lang="en-US" sz="1050" baseline="0" dirty="0" smtClean="0"/>
                        <a:t/>
                      </a:r>
                      <a:br>
                        <a:rPr lang="en-US" sz="1050" baseline="0" dirty="0" smtClean="0"/>
                      </a:br>
                      <a:r>
                        <a:rPr lang="en-US" sz="1050" baseline="0" dirty="0" smtClean="0"/>
                        <a:t>R&amp;D Lead: ___________________________________________________ Date: ___/___/___</a:t>
                      </a:r>
                      <a:br>
                        <a:rPr lang="en-US" sz="1050" baseline="0" dirty="0" smtClean="0"/>
                      </a:br>
                      <a:r>
                        <a:rPr lang="en-US" sz="1050" baseline="0" dirty="0" smtClean="0"/>
                        <a:t/>
                      </a:r>
                      <a:br>
                        <a:rPr lang="en-US" sz="1050" baseline="0" dirty="0" smtClean="0"/>
                      </a:br>
                      <a:r>
                        <a:rPr lang="en-US" sz="1050" baseline="0" dirty="0" smtClean="0"/>
                        <a:t>PMO Office: __________________________________________________ Date: ___/___/___</a:t>
                      </a:r>
                      <a:br>
                        <a:rPr lang="en-US" sz="1050" baseline="0" dirty="0" smtClean="0"/>
                      </a:br>
                      <a:r>
                        <a:rPr lang="en-US" sz="1050" baseline="0" dirty="0" smtClean="0"/>
                        <a:t/>
                      </a:r>
                      <a:br>
                        <a:rPr lang="en-US" sz="1050" baseline="0" dirty="0" smtClean="0"/>
                      </a:br>
                      <a:r>
                        <a:rPr lang="en-US" sz="1050" baseline="0" dirty="0" smtClean="0"/>
                        <a:t>Business Head: _______________________________________________ Date: ___/___/___</a:t>
                      </a:r>
                      <a:br>
                        <a:rPr lang="en-US" sz="1050" baseline="0" dirty="0" smtClean="0"/>
                      </a:br>
                      <a:r>
                        <a:rPr lang="en-US" sz="1050" baseline="0" dirty="0" smtClean="0"/>
                        <a:t/>
                      </a:r>
                      <a:br>
                        <a:rPr lang="en-US" sz="1050" baseline="0" dirty="0" smtClean="0"/>
                      </a:br>
                      <a:r>
                        <a:rPr lang="en-US" sz="1050" baseline="0" dirty="0" smtClean="0"/>
                        <a:t>Ray Tierney: _________________________________________________  Date: ___/___/___</a:t>
                      </a:r>
                      <a:br>
                        <a:rPr lang="en-US" sz="1050" baseline="0" dirty="0" smtClean="0"/>
                      </a:br>
                      <a:endParaRPr lang="en-US" sz="1050" dirty="0"/>
                    </a:p>
                  </a:txBody>
                  <a:tcPr/>
                </a:tc>
              </a:tr>
            </a:tbl>
          </a:graphicData>
        </a:graphic>
      </p:graphicFrame>
    </p:spTree>
    <p:extLst>
      <p:ext uri="{BB962C8B-B14F-4D97-AF65-F5344CB8AC3E}">
        <p14:creationId xmlns:p14="http://schemas.microsoft.com/office/powerpoint/2010/main" val="241117111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383C57C-80DA-45D5-BFE5-7583B8192761}" type="slidenum">
              <a:rPr lang="en-US" smtClean="0"/>
              <a:pPr/>
              <a:t>14</a:t>
            </a:fld>
            <a:endParaRPr lang="en-US"/>
          </a:p>
        </p:txBody>
      </p:sp>
      <p:sp>
        <p:nvSpPr>
          <p:cNvPr id="3" name="TextBox 2"/>
          <p:cNvSpPr txBox="1"/>
          <p:nvPr/>
        </p:nvSpPr>
        <p:spPr>
          <a:xfrm>
            <a:off x="142503" y="273132"/>
            <a:ext cx="7398179" cy="1785104"/>
          </a:xfrm>
          <a:prstGeom prst="rect">
            <a:avLst/>
          </a:prstGeom>
          <a:noFill/>
        </p:spPr>
        <p:txBody>
          <a:bodyPr wrap="none" rtlCol="0">
            <a:spAutoFit/>
          </a:bodyPr>
          <a:lstStyle/>
          <a:p>
            <a:r>
              <a:rPr lang="en-US" sz="11000" b="1" dirty="0" smtClean="0">
                <a:solidFill>
                  <a:srgbClr val="00B0F0"/>
                </a:solidFill>
              </a:rPr>
              <a:t>APPENDIX</a:t>
            </a:r>
            <a:endParaRPr lang="en-US" sz="11000" b="1" dirty="0">
              <a:solidFill>
                <a:srgbClr val="00B0F0"/>
              </a:solidFill>
            </a:endParaRPr>
          </a:p>
        </p:txBody>
      </p:sp>
    </p:spTree>
    <p:extLst>
      <p:ext uri="{BB962C8B-B14F-4D97-AF65-F5344CB8AC3E}">
        <p14:creationId xmlns:p14="http://schemas.microsoft.com/office/powerpoint/2010/main" val="45096984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 Streams</a:t>
            </a:r>
            <a:endParaRPr lang="en-US" dirty="0"/>
          </a:p>
        </p:txBody>
      </p:sp>
      <p:pic>
        <p:nvPicPr>
          <p:cNvPr id="307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37886" y="2438400"/>
            <a:ext cx="8229600" cy="15293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3586" y="1295400"/>
            <a:ext cx="8458200" cy="9213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4418" y="4038600"/>
            <a:ext cx="8477250" cy="7721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8"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793" y="4953000"/>
            <a:ext cx="8717757" cy="1174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8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95049" y="6324600"/>
            <a:ext cx="4705350" cy="295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63565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7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7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7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0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gh Level Business Architecture</a:t>
            </a:r>
            <a:endParaRPr lang="en-U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2636" y="1677834"/>
            <a:ext cx="7848600" cy="30329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3182556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383C57C-80DA-45D5-BFE5-7583B8192761}" type="slidenum">
              <a:rPr lang="en-US" smtClean="0"/>
              <a:pPr/>
              <a:t>17</a:t>
            </a:fld>
            <a:endParaRPr lang="en-US"/>
          </a:p>
        </p:txBody>
      </p:sp>
      <p:sp>
        <p:nvSpPr>
          <p:cNvPr id="5" name="Title 1"/>
          <p:cNvSpPr txBox="1">
            <a:spLocks/>
          </p:cNvSpPr>
          <p:nvPr/>
        </p:nvSpPr>
        <p:spPr>
          <a:xfrm>
            <a:off x="296974" y="86576"/>
            <a:ext cx="7677150" cy="965200"/>
          </a:xfrm>
          <a:prstGeom prst="rect">
            <a:avLst/>
          </a:prstGeom>
        </p:spPr>
        <p:txBody>
          <a:bodyPr vert="horz" lIns="91440" tIns="45720" rIns="91440" bIns="45720" rtlCol="0" anchor="ctr">
            <a:normAutofit/>
          </a:bodyPr>
          <a:lstStyle>
            <a:lvl1pPr algn="l" defTabSz="914400" rtl="0" eaLnBrk="1" latinLnBrk="0" hangingPunct="1">
              <a:lnSpc>
                <a:spcPts val="2700"/>
              </a:lnSpc>
              <a:spcBef>
                <a:spcPct val="0"/>
              </a:spcBef>
              <a:buNone/>
              <a:defRPr lang="en-US" sz="3000" b="1" i="0" kern="1200" cap="all" dirty="0" smtClean="0">
                <a:solidFill>
                  <a:schemeClr val="tx1"/>
                </a:solidFill>
                <a:latin typeface="Arial Bold"/>
                <a:ea typeface="+mj-ea"/>
                <a:cs typeface="Arial Bold"/>
              </a:defRPr>
            </a:lvl1pPr>
          </a:lstStyle>
          <a:p>
            <a:r>
              <a:rPr lang="en-US" dirty="0" smtClean="0"/>
              <a:t>Atlas </a:t>
            </a:r>
            <a:r>
              <a:rPr lang="en-US" dirty="0" smtClean="0">
                <a:solidFill>
                  <a:srgbClr val="00B0F0"/>
                </a:solidFill>
              </a:rPr>
              <a:t>platform</a:t>
            </a:r>
            <a:endParaRPr lang="en-US" dirty="0">
              <a:solidFill>
                <a:srgbClr val="00B0F0"/>
              </a:solidFill>
            </a:endParaRPr>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503" y="1051776"/>
            <a:ext cx="8133347" cy="54918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863987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2"/>
          <p:cNvSpPr>
            <a:spLocks noGrp="1" noChangeArrowheads="1"/>
          </p:cNvSpPr>
          <p:nvPr>
            <p:ph type="title"/>
          </p:nvPr>
        </p:nvSpPr>
        <p:spPr/>
        <p:txBody>
          <a:bodyPr/>
          <a:lstStyle/>
          <a:p>
            <a:r>
              <a:rPr lang="en-US" dirty="0" smtClean="0"/>
              <a:t>TABLE OF </a:t>
            </a:r>
            <a:r>
              <a:rPr lang="en-US" dirty="0" smtClean="0">
                <a:solidFill>
                  <a:srgbClr val="00B0F0"/>
                </a:solidFill>
              </a:rPr>
              <a:t>CONTENTS</a:t>
            </a:r>
          </a:p>
        </p:txBody>
      </p:sp>
      <p:sp>
        <p:nvSpPr>
          <p:cNvPr id="5" name="Content Placeholder 4"/>
          <p:cNvSpPr>
            <a:spLocks noGrp="1"/>
          </p:cNvSpPr>
          <p:nvPr>
            <p:ph idx="1"/>
          </p:nvPr>
        </p:nvSpPr>
        <p:spPr>
          <a:xfrm>
            <a:off x="457200" y="1081089"/>
            <a:ext cx="7677150" cy="5170486"/>
          </a:xfrm>
        </p:spPr>
        <p:txBody>
          <a:bodyPr>
            <a:normAutofit/>
          </a:bodyPr>
          <a:lstStyle/>
          <a:p>
            <a:pPr lvl="1">
              <a:buClr>
                <a:srgbClr val="00B0F0"/>
              </a:buClr>
            </a:pPr>
            <a:r>
              <a:rPr lang="en-US" dirty="0" smtClean="0"/>
              <a:t>PROJECT OBJECTIVE &amp; SCOPE</a:t>
            </a:r>
          </a:p>
          <a:p>
            <a:pPr lvl="1">
              <a:buClr>
                <a:srgbClr val="00B0F0"/>
              </a:buClr>
            </a:pPr>
            <a:r>
              <a:rPr lang="en-US" dirty="0" smtClean="0"/>
              <a:t>ROLES &amp; RESPONSIBILITIES</a:t>
            </a:r>
          </a:p>
          <a:p>
            <a:pPr lvl="1">
              <a:buClr>
                <a:srgbClr val="00B0F0"/>
              </a:buClr>
            </a:pPr>
            <a:r>
              <a:rPr lang="en-US" dirty="0" smtClean="0"/>
              <a:t>STAKEHOLDERS</a:t>
            </a:r>
          </a:p>
          <a:p>
            <a:pPr lvl="1">
              <a:buClr>
                <a:srgbClr val="00B0F0"/>
              </a:buClr>
            </a:pPr>
            <a:r>
              <a:rPr lang="en-US" dirty="0"/>
              <a:t>COMMUNICATION PLAN</a:t>
            </a:r>
          </a:p>
          <a:p>
            <a:pPr lvl="1">
              <a:buClr>
                <a:srgbClr val="00B0F0"/>
              </a:buClr>
            </a:pPr>
            <a:r>
              <a:rPr lang="en-US" dirty="0" smtClean="0"/>
              <a:t>ROADMAP</a:t>
            </a:r>
          </a:p>
          <a:p>
            <a:pPr lvl="1">
              <a:buClr>
                <a:srgbClr val="00B0F0"/>
              </a:buClr>
            </a:pPr>
            <a:r>
              <a:rPr lang="en-US" dirty="0" smtClean="0"/>
              <a:t>PROJECT STATUS (with Risks/Issues)</a:t>
            </a:r>
          </a:p>
          <a:p>
            <a:pPr lvl="1">
              <a:buClr>
                <a:srgbClr val="00B0F0"/>
              </a:buClr>
            </a:pPr>
            <a:r>
              <a:rPr lang="en-US" dirty="0" smtClean="0"/>
              <a:t>MILESTONE STATUS</a:t>
            </a:r>
          </a:p>
          <a:p>
            <a:pPr lvl="1">
              <a:buClr>
                <a:srgbClr val="00B0F0"/>
              </a:buClr>
            </a:pPr>
            <a:r>
              <a:rPr lang="en-US" dirty="0" smtClean="0"/>
              <a:t>CHANGE CONTROL REQUEST</a:t>
            </a:r>
          </a:p>
          <a:p>
            <a:pPr lvl="1">
              <a:buClr>
                <a:srgbClr val="00B0F0"/>
              </a:buClr>
            </a:pPr>
            <a:r>
              <a:rPr lang="en-US" dirty="0" smtClean="0"/>
              <a:t>APPENDIX</a:t>
            </a:r>
          </a:p>
          <a:p>
            <a:pPr lvl="1"/>
            <a:endParaRPr lang="en-US" dirty="0"/>
          </a:p>
        </p:txBody>
      </p:sp>
      <p:sp>
        <p:nvSpPr>
          <p:cNvPr id="6" name="Slide Number Placeholder 5"/>
          <p:cNvSpPr>
            <a:spLocks noGrp="1"/>
          </p:cNvSpPr>
          <p:nvPr>
            <p:ph type="sldNum" sz="quarter" idx="12"/>
          </p:nvPr>
        </p:nvSpPr>
        <p:spPr/>
        <p:txBody>
          <a:bodyPr/>
          <a:lstStyle/>
          <a:p>
            <a:fld id="{B383C57C-80DA-45D5-BFE5-7583B8192761}" type="slidenum">
              <a:rPr lang="en-US" smtClean="0"/>
              <a:pPr/>
              <a:t>2</a:t>
            </a:fld>
            <a:endParaRPr lang="en-US"/>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383C57C-80DA-45D5-BFE5-7583B8192761}" type="slidenum">
              <a:rPr lang="en-US" smtClean="0"/>
              <a:pPr/>
              <a:t>3</a:t>
            </a:fld>
            <a:endParaRPr lang="en-US"/>
          </a:p>
        </p:txBody>
      </p:sp>
      <p:sp>
        <p:nvSpPr>
          <p:cNvPr id="3" name="Title 1"/>
          <p:cNvSpPr txBox="1">
            <a:spLocks/>
          </p:cNvSpPr>
          <p:nvPr/>
        </p:nvSpPr>
        <p:spPr>
          <a:xfrm>
            <a:off x="207296" y="364763"/>
            <a:ext cx="7677150" cy="965200"/>
          </a:xfrm>
          <a:prstGeom prst="rect">
            <a:avLst/>
          </a:prstGeom>
        </p:spPr>
        <p:txBody>
          <a:bodyPr/>
          <a:lstStyle>
            <a:lvl1pPr algn="l" defTabSz="914400" rtl="0" eaLnBrk="1" latinLnBrk="0" hangingPunct="1">
              <a:lnSpc>
                <a:spcPts val="2700"/>
              </a:lnSpc>
              <a:spcBef>
                <a:spcPct val="0"/>
              </a:spcBef>
              <a:buNone/>
              <a:defRPr lang="en-US" sz="3000" b="1" i="0" kern="1200" cap="all" dirty="0" smtClean="0">
                <a:solidFill>
                  <a:schemeClr val="tx1"/>
                </a:solidFill>
                <a:latin typeface="Arial Bold"/>
                <a:ea typeface="+mj-ea"/>
                <a:cs typeface="Arial Bold"/>
              </a:defRPr>
            </a:lvl1pPr>
          </a:lstStyle>
          <a:p>
            <a:r>
              <a:rPr lang="en-US" dirty="0" smtClean="0"/>
              <a:t>PROJECT </a:t>
            </a:r>
            <a:r>
              <a:rPr lang="en-US" dirty="0" smtClean="0">
                <a:solidFill>
                  <a:srgbClr val="00B0F0"/>
                </a:solidFill>
              </a:rPr>
              <a:t>objective &amp; </a:t>
            </a:r>
            <a:r>
              <a:rPr lang="en-US" dirty="0" err="1" smtClean="0">
                <a:solidFill>
                  <a:srgbClr val="00B0F0"/>
                </a:solidFill>
              </a:rPr>
              <a:t>SCope</a:t>
            </a:r>
            <a:endParaRPr lang="en-US" dirty="0">
              <a:solidFill>
                <a:srgbClr val="00B0F0"/>
              </a:solidFill>
            </a:endParaRPr>
          </a:p>
        </p:txBody>
      </p:sp>
      <p:sp>
        <p:nvSpPr>
          <p:cNvPr id="5" name="Rectangle 4"/>
          <p:cNvSpPr/>
          <p:nvPr/>
        </p:nvSpPr>
        <p:spPr>
          <a:xfrm>
            <a:off x="342899" y="942222"/>
            <a:ext cx="7953376" cy="954107"/>
          </a:xfrm>
          <a:prstGeom prst="rect">
            <a:avLst/>
          </a:prstGeom>
        </p:spPr>
        <p:txBody>
          <a:bodyPr wrap="square">
            <a:spAutoFit/>
          </a:bodyPr>
          <a:lstStyle/>
          <a:p>
            <a:pPr>
              <a:buClr>
                <a:srgbClr val="00B0F0"/>
              </a:buClr>
            </a:pPr>
            <a:r>
              <a:rPr lang="en-US" sz="1400" dirty="0"/>
              <a:t>The goal of this project is </a:t>
            </a:r>
            <a:r>
              <a:rPr lang="en-US" sz="1400" dirty="0" smtClean="0"/>
              <a:t>to provide </a:t>
            </a:r>
            <a:r>
              <a:rPr lang="en-US" sz="1400" dirty="0"/>
              <a:t>users with the ability to trade, maintain positions, and calculate P&amp;L on cross currency CFDs, more specifically cross currency Single Name Equity Total Return Swaps. This functionality </a:t>
            </a:r>
            <a:r>
              <a:rPr lang="en-US" sz="1400" dirty="0" smtClean="0"/>
              <a:t>will </a:t>
            </a:r>
            <a:r>
              <a:rPr lang="en-US" sz="1400" dirty="0"/>
              <a:t>be added while maintaining the existing simple trade capture workflow that AIM users currently employ</a:t>
            </a:r>
            <a:r>
              <a:rPr lang="en-US" sz="1400" dirty="0" smtClean="0"/>
              <a:t>.</a:t>
            </a:r>
          </a:p>
        </p:txBody>
      </p:sp>
      <p:sp>
        <p:nvSpPr>
          <p:cNvPr id="6" name="Content Placeholder 3"/>
          <p:cNvSpPr txBox="1">
            <a:spLocks/>
          </p:cNvSpPr>
          <p:nvPr/>
        </p:nvSpPr>
        <p:spPr>
          <a:xfrm>
            <a:off x="352423" y="2385082"/>
            <a:ext cx="8020052" cy="1415394"/>
          </a:xfrm>
          <a:prstGeom prst="rect">
            <a:avLst/>
          </a:prstGeom>
        </p:spPr>
        <p:txBody>
          <a:bodyPr>
            <a:normAutofit/>
          </a:bodyPr>
          <a:lstStyle>
            <a:lvl1pPr marL="0" indent="0" algn="l" defTabSz="914400" rtl="0" eaLnBrk="1" latinLnBrk="0" hangingPunct="1">
              <a:spcBef>
                <a:spcPts val="600"/>
              </a:spcBef>
              <a:spcAft>
                <a:spcPts val="300"/>
              </a:spcAft>
              <a:buFont typeface="Arial" pitchFamily="34" charset="0"/>
              <a:buNone/>
              <a:defRPr lang="en-US" sz="2000" b="1" kern="1200" cap="all" dirty="0" smtClean="0">
                <a:solidFill>
                  <a:schemeClr val="tx1"/>
                </a:solidFill>
                <a:latin typeface="Arial"/>
                <a:ea typeface="+mn-ea"/>
                <a:cs typeface="Arial"/>
              </a:defRPr>
            </a:lvl1pPr>
            <a:lvl2pPr marL="742950" indent="-285750" algn="l" defTabSz="914400" rtl="0" eaLnBrk="1" latinLnBrk="0" hangingPunct="1">
              <a:spcBef>
                <a:spcPts val="800"/>
              </a:spcBef>
              <a:spcAft>
                <a:spcPts val="300"/>
              </a:spcAft>
              <a:buClr>
                <a:schemeClr val="accent2"/>
              </a:buClr>
              <a:buFont typeface="Lucida Grande"/>
              <a:buChar char="»"/>
              <a:defRPr lang="en-US" sz="1800" b="0" kern="1200" cap="none" dirty="0" smtClean="0">
                <a:solidFill>
                  <a:srgbClr val="000000"/>
                </a:solidFill>
                <a:latin typeface="Arial"/>
                <a:ea typeface="+mn-ea"/>
                <a:cs typeface="Arial"/>
              </a:defRPr>
            </a:lvl2pPr>
            <a:lvl3pPr marL="1143000" indent="-228600" algn="l" defTabSz="914400" rtl="0" eaLnBrk="1" latinLnBrk="0" hangingPunct="1">
              <a:spcBef>
                <a:spcPts val="600"/>
              </a:spcBef>
              <a:spcAft>
                <a:spcPts val="200"/>
              </a:spcAft>
              <a:buClr>
                <a:schemeClr val="accent2"/>
              </a:buClr>
              <a:buFont typeface="Arial" pitchFamily="34" charset="0"/>
              <a:buChar char="•"/>
              <a:defRPr lang="en-US" sz="1800" b="0" kern="1200" cap="none" dirty="0" smtClean="0">
                <a:solidFill>
                  <a:srgbClr val="000000"/>
                </a:solidFill>
                <a:latin typeface="Arial"/>
                <a:ea typeface="+mn-ea"/>
                <a:cs typeface="Arial"/>
              </a:defRPr>
            </a:lvl3pPr>
            <a:lvl4pPr marL="1600200" indent="-228600" algn="l" defTabSz="914400" rtl="0" eaLnBrk="1" latinLnBrk="0" hangingPunct="1">
              <a:spcBef>
                <a:spcPts val="1300"/>
              </a:spcBef>
              <a:buClr>
                <a:srgbClr val="F78E1E"/>
              </a:buClr>
              <a:buFont typeface="Arial" pitchFamily="34" charset="0"/>
              <a:buChar char="–"/>
              <a:defRPr lang="en-US" sz="1400" b="0" kern="1200" cap="none" dirty="0" smtClean="0">
                <a:solidFill>
                  <a:srgbClr val="000000"/>
                </a:solidFill>
                <a:latin typeface="Arial"/>
                <a:ea typeface="+mn-ea"/>
                <a:cs typeface="Arial"/>
              </a:defRPr>
            </a:lvl4pPr>
            <a:lvl5pPr marL="2057400" indent="-228600" algn="l" defTabSz="914400" rtl="0" eaLnBrk="1" latinLnBrk="0" hangingPunct="1">
              <a:spcBef>
                <a:spcPts val="1200"/>
              </a:spcBef>
              <a:buClr>
                <a:schemeClr val="accent2"/>
              </a:buClr>
              <a:buFont typeface="Arial" pitchFamily="34" charset="0"/>
              <a:buChar char="–"/>
              <a:defRPr lang="en-US" sz="1400" b="0" kern="1200" cap="none" dirty="0" smtClean="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cap="none" dirty="0" smtClean="0"/>
              <a:t>Trade capture screens </a:t>
            </a:r>
            <a:r>
              <a:rPr lang="en-US" sz="1200" b="0" cap="none" dirty="0" smtClean="0"/>
              <a:t>– must be updated to pass the CFD and reference security currencies and exchange rates needed for valuation and position keeping, as well as converting the price field reflect the currency of the CFD.</a:t>
            </a:r>
            <a:br>
              <a:rPr lang="en-US" sz="1200" b="0" cap="none" dirty="0" smtClean="0"/>
            </a:br>
            <a:r>
              <a:rPr lang="en-US" sz="1200" cap="none" dirty="0" smtClean="0"/>
              <a:t>Position management </a:t>
            </a:r>
            <a:r>
              <a:rPr lang="en-US" sz="1200" b="0" cap="none" dirty="0" smtClean="0"/>
              <a:t>– must still be able to roll up </a:t>
            </a:r>
            <a:r>
              <a:rPr lang="en-US" sz="1200" b="0" cap="none" dirty="0" err="1" smtClean="0"/>
              <a:t>cfd</a:t>
            </a:r>
            <a:r>
              <a:rPr lang="en-US" sz="1200" b="0" cap="none" dirty="0" smtClean="0"/>
              <a:t> and non-</a:t>
            </a:r>
            <a:r>
              <a:rPr lang="en-US" sz="1200" b="0" cap="none" dirty="0" err="1" smtClean="0"/>
              <a:t>cfd</a:t>
            </a:r>
            <a:r>
              <a:rPr lang="en-US" sz="1200" b="0" cap="none" dirty="0" smtClean="0"/>
              <a:t> positions</a:t>
            </a:r>
            <a:br>
              <a:rPr lang="en-US" sz="1200" b="0" cap="none" dirty="0" smtClean="0"/>
            </a:br>
            <a:r>
              <a:rPr lang="en-US" sz="1200" cap="none" dirty="0" smtClean="0"/>
              <a:t>P&amp;L calculation </a:t>
            </a:r>
            <a:r>
              <a:rPr lang="en-US" sz="1200" b="0" cap="none" dirty="0" smtClean="0"/>
              <a:t>– must be able to accurately calculate FX P&amp;L exposure in the CFD currency.</a:t>
            </a:r>
            <a:br>
              <a:rPr lang="en-US" sz="1200" b="0" cap="none" dirty="0" smtClean="0"/>
            </a:br>
            <a:r>
              <a:rPr lang="en-US" sz="1200" cap="none" dirty="0" smtClean="0"/>
              <a:t>P&amp;L display </a:t>
            </a:r>
            <a:r>
              <a:rPr lang="en-US" sz="1200" b="0" cap="none" dirty="0" smtClean="0"/>
              <a:t>– must be able to display </a:t>
            </a:r>
            <a:r>
              <a:rPr lang="en-US" sz="1200" b="0" cap="none" dirty="0" err="1" smtClean="0"/>
              <a:t>cfd</a:t>
            </a:r>
            <a:r>
              <a:rPr lang="en-US" sz="1200" b="0" cap="none" dirty="0" smtClean="0"/>
              <a:t> </a:t>
            </a:r>
            <a:r>
              <a:rPr lang="en-US" sz="1200" b="0" cap="none" dirty="0" err="1" smtClean="0"/>
              <a:t>p&amp;l</a:t>
            </a:r>
            <a:r>
              <a:rPr lang="en-US" sz="1200" b="0" cap="none" dirty="0" smtClean="0"/>
              <a:t> in;</a:t>
            </a:r>
            <a:br>
              <a:rPr lang="en-US" sz="1200" b="0" cap="none" dirty="0" smtClean="0"/>
            </a:br>
            <a:r>
              <a:rPr lang="en-US" sz="1200" b="0" cap="none" dirty="0" smtClean="0"/>
              <a:t>       CFD currency – converted to account currency and then reported in worksheet currency</a:t>
            </a:r>
            <a:br>
              <a:rPr lang="en-US" sz="1200" b="0" cap="none" dirty="0" smtClean="0"/>
            </a:br>
            <a:r>
              <a:rPr lang="en-US" sz="1200" b="0" cap="none" dirty="0" smtClean="0"/>
              <a:t>       Reference security currency – converted to account currency and then reported in worksheet currency</a:t>
            </a:r>
            <a:endParaRPr lang="en-US" sz="1200" b="0" cap="none" dirty="0"/>
          </a:p>
        </p:txBody>
      </p:sp>
      <p:sp>
        <p:nvSpPr>
          <p:cNvPr id="7" name="Rectangle 6"/>
          <p:cNvSpPr/>
          <p:nvPr/>
        </p:nvSpPr>
        <p:spPr>
          <a:xfrm>
            <a:off x="352424" y="2067779"/>
            <a:ext cx="1143001" cy="276999"/>
          </a:xfrm>
          <a:prstGeom prst="rect">
            <a:avLst/>
          </a:prstGeom>
        </p:spPr>
        <p:txBody>
          <a:bodyPr wrap="square">
            <a:spAutoFit/>
          </a:bodyPr>
          <a:lstStyle/>
          <a:p>
            <a:pPr>
              <a:buClr>
                <a:srgbClr val="00B0F0"/>
              </a:buClr>
            </a:pPr>
            <a:r>
              <a:rPr lang="en-US" sz="1200" b="1" u="sng" dirty="0" smtClean="0"/>
              <a:t>In Scope:</a:t>
            </a:r>
          </a:p>
        </p:txBody>
      </p:sp>
      <p:sp>
        <p:nvSpPr>
          <p:cNvPr id="8" name="Content Placeholder 5"/>
          <p:cNvSpPr txBox="1">
            <a:spLocks/>
          </p:cNvSpPr>
          <p:nvPr/>
        </p:nvSpPr>
        <p:spPr>
          <a:xfrm>
            <a:off x="342898" y="4227882"/>
            <a:ext cx="8229601" cy="2153868"/>
          </a:xfrm>
          <a:prstGeom prst="rect">
            <a:avLst/>
          </a:prstGeom>
        </p:spPr>
        <p:txBody>
          <a:bodyPr>
            <a:normAutofit/>
          </a:bodyPr>
          <a:lstStyle>
            <a:lvl1pPr marL="0" indent="0" algn="l" defTabSz="914400" rtl="0" eaLnBrk="1" latinLnBrk="0" hangingPunct="1">
              <a:spcBef>
                <a:spcPts val="600"/>
              </a:spcBef>
              <a:spcAft>
                <a:spcPts val="300"/>
              </a:spcAft>
              <a:buFont typeface="Arial" pitchFamily="34" charset="0"/>
              <a:buNone/>
              <a:defRPr lang="en-US" sz="2000" b="1" kern="1200" cap="all" dirty="0" smtClean="0">
                <a:solidFill>
                  <a:schemeClr val="tx1"/>
                </a:solidFill>
                <a:latin typeface="Arial"/>
                <a:ea typeface="+mn-ea"/>
                <a:cs typeface="Arial"/>
              </a:defRPr>
            </a:lvl1pPr>
            <a:lvl2pPr marL="742950" indent="-285750" algn="l" defTabSz="914400" rtl="0" eaLnBrk="1" latinLnBrk="0" hangingPunct="1">
              <a:spcBef>
                <a:spcPts val="800"/>
              </a:spcBef>
              <a:spcAft>
                <a:spcPts val="300"/>
              </a:spcAft>
              <a:buClr>
                <a:schemeClr val="accent2"/>
              </a:buClr>
              <a:buFont typeface="Lucida Grande"/>
              <a:buChar char="»"/>
              <a:defRPr lang="en-US" sz="1800" b="0" kern="1200" cap="none" dirty="0" smtClean="0">
                <a:solidFill>
                  <a:srgbClr val="000000"/>
                </a:solidFill>
                <a:latin typeface="Arial"/>
                <a:ea typeface="+mn-ea"/>
                <a:cs typeface="Arial"/>
              </a:defRPr>
            </a:lvl2pPr>
            <a:lvl3pPr marL="1143000" indent="-228600" algn="l" defTabSz="914400" rtl="0" eaLnBrk="1" latinLnBrk="0" hangingPunct="1">
              <a:spcBef>
                <a:spcPts val="600"/>
              </a:spcBef>
              <a:spcAft>
                <a:spcPts val="200"/>
              </a:spcAft>
              <a:buClr>
                <a:schemeClr val="accent2"/>
              </a:buClr>
              <a:buFont typeface="Arial" pitchFamily="34" charset="0"/>
              <a:buChar char="•"/>
              <a:defRPr lang="en-US" sz="1800" b="0" kern="1200" cap="none" dirty="0" smtClean="0">
                <a:solidFill>
                  <a:srgbClr val="000000"/>
                </a:solidFill>
                <a:latin typeface="Arial"/>
                <a:ea typeface="+mn-ea"/>
                <a:cs typeface="Arial"/>
              </a:defRPr>
            </a:lvl3pPr>
            <a:lvl4pPr marL="1600200" indent="-228600" algn="l" defTabSz="914400" rtl="0" eaLnBrk="1" latinLnBrk="0" hangingPunct="1">
              <a:spcBef>
                <a:spcPts val="1300"/>
              </a:spcBef>
              <a:buClr>
                <a:srgbClr val="F78E1E"/>
              </a:buClr>
              <a:buFont typeface="Arial" pitchFamily="34" charset="0"/>
              <a:buChar char="–"/>
              <a:defRPr lang="en-US" sz="1400" b="0" kern="1200" cap="none" dirty="0" smtClean="0">
                <a:solidFill>
                  <a:srgbClr val="000000"/>
                </a:solidFill>
                <a:latin typeface="Arial"/>
                <a:ea typeface="+mn-ea"/>
                <a:cs typeface="Arial"/>
              </a:defRPr>
            </a:lvl4pPr>
            <a:lvl5pPr marL="2057400" indent="-228600" algn="l" defTabSz="914400" rtl="0" eaLnBrk="1" latinLnBrk="0" hangingPunct="1">
              <a:spcBef>
                <a:spcPts val="1200"/>
              </a:spcBef>
              <a:buClr>
                <a:schemeClr val="accent2"/>
              </a:buClr>
              <a:buFont typeface="Arial" pitchFamily="34" charset="0"/>
              <a:buChar char="–"/>
              <a:defRPr lang="en-US" sz="1400" b="0" kern="1200" cap="none" dirty="0" smtClean="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cap="none" dirty="0" smtClean="0">
                <a:solidFill>
                  <a:srgbClr val="FF0000"/>
                </a:solidFill>
              </a:rPr>
              <a:t>Mixed CFD and cash orders </a:t>
            </a:r>
            <a:r>
              <a:rPr lang="en-US" sz="1200" b="0" cap="none" dirty="0" smtClean="0"/>
              <a:t>– orders where some allocations are settled in cash and other allocations are </a:t>
            </a:r>
            <a:r>
              <a:rPr lang="en-US" sz="1200" b="0" cap="none" dirty="0" err="1" smtClean="0"/>
              <a:t>cfds</a:t>
            </a:r>
            <a:r>
              <a:rPr lang="en-US" sz="1200" b="0" cap="none" dirty="0" smtClean="0"/>
              <a:t>.</a:t>
            </a:r>
            <a:br>
              <a:rPr lang="en-US" sz="1200" b="0" cap="none" dirty="0" smtClean="0"/>
            </a:br>
            <a:r>
              <a:rPr lang="en-US" sz="1200" cap="none" dirty="0" smtClean="0">
                <a:solidFill>
                  <a:srgbClr val="FF0000"/>
                </a:solidFill>
              </a:rPr>
              <a:t>Transaction costs </a:t>
            </a:r>
            <a:r>
              <a:rPr lang="en-US" sz="1200" b="0" cap="none" dirty="0" smtClean="0"/>
              <a:t>– transaction costs are not currently included in total cost.</a:t>
            </a:r>
            <a:br>
              <a:rPr lang="en-US" sz="1200" b="0" cap="none" dirty="0" smtClean="0"/>
            </a:br>
            <a:r>
              <a:rPr lang="en-US" sz="1200" cap="none" dirty="0" smtClean="0">
                <a:solidFill>
                  <a:srgbClr val="FF0000"/>
                </a:solidFill>
              </a:rPr>
              <a:t>Reset flexibility </a:t>
            </a:r>
            <a:r>
              <a:rPr lang="en-US" sz="1200" b="0" cap="none" dirty="0" smtClean="0"/>
              <a:t>– individual swaps can have unique interest rates, calculation and reset terms.</a:t>
            </a:r>
            <a:br>
              <a:rPr lang="en-US" sz="1200" b="0" cap="none" dirty="0" smtClean="0"/>
            </a:br>
            <a:r>
              <a:rPr lang="en-US" sz="1200" cap="none" dirty="0" smtClean="0">
                <a:solidFill>
                  <a:srgbClr val="FF0000"/>
                </a:solidFill>
              </a:rPr>
              <a:t>Corporate actions </a:t>
            </a:r>
            <a:r>
              <a:rPr lang="en-US" sz="1200" b="0" cap="none" dirty="0" smtClean="0"/>
              <a:t>– when the reference investment is impacted by a corporate action (</a:t>
            </a:r>
            <a:r>
              <a:rPr lang="en-US" sz="1200" b="0" cap="none" dirty="0" err="1" smtClean="0"/>
              <a:t>i.E</a:t>
            </a:r>
            <a:r>
              <a:rPr lang="en-US" sz="1200" b="0" cap="none" dirty="0" smtClean="0"/>
              <a:t> . a dividend) swaps written against it reflect the impact as well.</a:t>
            </a:r>
            <a:br>
              <a:rPr lang="en-US" sz="1200" b="0" cap="none" dirty="0" smtClean="0"/>
            </a:br>
            <a:r>
              <a:rPr lang="en-US" sz="1200" cap="none" dirty="0" smtClean="0">
                <a:solidFill>
                  <a:srgbClr val="FF0000"/>
                </a:solidFill>
              </a:rPr>
              <a:t>Financing accruals </a:t>
            </a:r>
            <a:r>
              <a:rPr lang="en-US" sz="1200" b="0" cap="none" dirty="0" smtClean="0"/>
              <a:t>– calculation of the fees paid to enter into a swap</a:t>
            </a:r>
            <a:br>
              <a:rPr lang="en-US" sz="1200" b="0" cap="none" dirty="0" smtClean="0"/>
            </a:br>
            <a:r>
              <a:rPr lang="en-US" sz="1200" cap="none" dirty="0" smtClean="0">
                <a:solidFill>
                  <a:srgbClr val="FF0000"/>
                </a:solidFill>
              </a:rPr>
              <a:t>Financing cash flow </a:t>
            </a:r>
            <a:r>
              <a:rPr lang="en-US" sz="1200" b="0" cap="none" dirty="0" smtClean="0"/>
              <a:t>– payment of the fees</a:t>
            </a:r>
            <a:br>
              <a:rPr lang="en-US" sz="1200" b="0" cap="none" dirty="0" smtClean="0"/>
            </a:br>
            <a:r>
              <a:rPr lang="en-US" sz="1200" cap="none" dirty="0" smtClean="0">
                <a:solidFill>
                  <a:srgbClr val="FF0000"/>
                </a:solidFill>
              </a:rPr>
              <a:t>Rate resets </a:t>
            </a:r>
            <a:r>
              <a:rPr lang="en-US" sz="1200" b="0" cap="none" dirty="0" smtClean="0"/>
              <a:t>– update of the rates used to calculate the financing payments</a:t>
            </a:r>
            <a:br>
              <a:rPr lang="en-US" sz="1200" b="0" cap="none" dirty="0" smtClean="0"/>
            </a:br>
            <a:r>
              <a:rPr lang="en-US" sz="1200" cap="none" dirty="0" smtClean="0">
                <a:solidFill>
                  <a:srgbClr val="FF0000"/>
                </a:solidFill>
              </a:rPr>
              <a:t>P&amp;L resets </a:t>
            </a:r>
            <a:r>
              <a:rPr lang="en-US" sz="1200" b="0" cap="none" dirty="0" smtClean="0"/>
              <a:t>– certain CFDs reset the amount that they accrue on, and actually realize some of the P&amp;L through the life of the CFD.</a:t>
            </a:r>
            <a:br>
              <a:rPr lang="en-US" sz="1200" b="0" cap="none" dirty="0" smtClean="0"/>
            </a:br>
            <a:r>
              <a:rPr lang="en-US" sz="1200" cap="none" dirty="0" smtClean="0">
                <a:solidFill>
                  <a:srgbClr val="FF0000"/>
                </a:solidFill>
              </a:rPr>
              <a:t>Margin</a:t>
            </a:r>
            <a:r>
              <a:rPr lang="en-US" sz="1200" b="0" cap="none" dirty="0" smtClean="0"/>
              <a:t> – movements of collateral to support the </a:t>
            </a:r>
            <a:r>
              <a:rPr lang="en-US" sz="1200" b="0" cap="none" dirty="0" err="1" smtClean="0"/>
              <a:t>cfd</a:t>
            </a:r>
            <a:r>
              <a:rPr lang="en-US" sz="1200" b="0" cap="none" dirty="0" smtClean="0"/>
              <a:t> ownership.</a:t>
            </a:r>
          </a:p>
          <a:p>
            <a:endParaRPr lang="en-US" dirty="0"/>
          </a:p>
        </p:txBody>
      </p:sp>
      <p:sp>
        <p:nvSpPr>
          <p:cNvPr id="9" name="Rectangle 8"/>
          <p:cNvSpPr/>
          <p:nvPr/>
        </p:nvSpPr>
        <p:spPr>
          <a:xfrm>
            <a:off x="342899" y="3915629"/>
            <a:ext cx="1371601" cy="276999"/>
          </a:xfrm>
          <a:prstGeom prst="rect">
            <a:avLst/>
          </a:prstGeom>
        </p:spPr>
        <p:txBody>
          <a:bodyPr wrap="square">
            <a:spAutoFit/>
          </a:bodyPr>
          <a:lstStyle/>
          <a:p>
            <a:pPr>
              <a:buClr>
                <a:srgbClr val="00B0F0"/>
              </a:buClr>
            </a:pPr>
            <a:r>
              <a:rPr lang="en-US" sz="1200" b="1" u="sng" dirty="0" smtClean="0">
                <a:solidFill>
                  <a:srgbClr val="FF0000"/>
                </a:solidFill>
              </a:rPr>
              <a:t>Out of Scope:</a:t>
            </a:r>
          </a:p>
        </p:txBody>
      </p:sp>
    </p:spTree>
    <p:extLst>
      <p:ext uri="{BB962C8B-B14F-4D97-AF65-F5344CB8AC3E}">
        <p14:creationId xmlns:p14="http://schemas.microsoft.com/office/powerpoint/2010/main" val="896532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8"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les and </a:t>
            </a:r>
            <a:r>
              <a:rPr lang="en-US" dirty="0" smtClean="0">
                <a:solidFill>
                  <a:srgbClr val="00B0F0"/>
                </a:solidFill>
              </a:rPr>
              <a:t>responsibilities</a:t>
            </a:r>
            <a:endParaRPr lang="en-US" dirty="0">
              <a:solidFill>
                <a:srgbClr val="00B0F0"/>
              </a:solidFill>
            </a:endParaRPr>
          </a:p>
        </p:txBody>
      </p:sp>
      <p:sp>
        <p:nvSpPr>
          <p:cNvPr id="3" name="Slide Number Placeholder 2"/>
          <p:cNvSpPr>
            <a:spLocks noGrp="1"/>
          </p:cNvSpPr>
          <p:nvPr>
            <p:ph type="sldNum" sz="quarter" idx="12"/>
          </p:nvPr>
        </p:nvSpPr>
        <p:spPr/>
        <p:txBody>
          <a:bodyPr/>
          <a:lstStyle/>
          <a:p>
            <a:fld id="{B383C57C-80DA-45D5-BFE5-7583B8192761}" type="slidenum">
              <a:rPr lang="en-US" smtClean="0"/>
              <a:pPr/>
              <a:t>4</a:t>
            </a:fld>
            <a:endParaRPr lang="en-US" dirty="0"/>
          </a:p>
        </p:txBody>
      </p:sp>
      <p:graphicFrame>
        <p:nvGraphicFramePr>
          <p:cNvPr id="4" name="Group 984"/>
          <p:cNvGraphicFramePr>
            <a:graphicFrameLocks noGrp="1"/>
          </p:cNvGraphicFramePr>
          <p:nvPr>
            <p:extLst>
              <p:ext uri="{D42A27DB-BD31-4B8C-83A1-F6EECF244321}">
                <p14:modId xmlns:p14="http://schemas.microsoft.com/office/powerpoint/2010/main" val="4217948910"/>
              </p:ext>
            </p:extLst>
          </p:nvPr>
        </p:nvGraphicFramePr>
        <p:xfrm>
          <a:off x="528512" y="958808"/>
          <a:ext cx="7910638" cy="3653633"/>
        </p:xfrm>
        <a:graphic>
          <a:graphicData uri="http://schemas.openxmlformats.org/drawingml/2006/table">
            <a:tbl>
              <a:tblPr/>
              <a:tblGrid>
                <a:gridCol w="1881313"/>
                <a:gridCol w="1463929"/>
                <a:gridCol w="4565396"/>
              </a:tblGrid>
              <a:tr h="444242">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400" b="1" i="0" u="none" strike="noStrike" cap="none" normalizeH="0" baseline="0" dirty="0" smtClean="0">
                          <a:ln>
                            <a:noFill/>
                          </a:ln>
                          <a:solidFill>
                            <a:schemeClr val="bg1"/>
                          </a:solidFill>
                          <a:effectLst/>
                          <a:latin typeface="Arial" charset="0"/>
                          <a:cs typeface="Arial" charset="0"/>
                        </a:rPr>
                        <a:t>TEAM MEMBERS</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400" b="1" i="0" u="none" strike="noStrike" cap="none" normalizeH="0" baseline="0" dirty="0" smtClean="0">
                          <a:ln>
                            <a:noFill/>
                          </a:ln>
                          <a:solidFill>
                            <a:schemeClr val="bg1"/>
                          </a:solidFill>
                          <a:effectLst/>
                          <a:latin typeface="Arial" charset="0"/>
                          <a:cs typeface="Arial" charset="0"/>
                        </a:rPr>
                        <a:t>ROLE</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400" b="1" i="0" u="none" strike="noStrike" cap="none" normalizeH="0" baseline="0" dirty="0" smtClean="0">
                          <a:ln>
                            <a:noFill/>
                          </a:ln>
                          <a:solidFill>
                            <a:schemeClr val="bg1"/>
                          </a:solidFill>
                          <a:effectLst/>
                          <a:latin typeface="Arial" charset="0"/>
                          <a:cs typeface="Arial" charset="0"/>
                        </a:rPr>
                        <a:t>RESPONSIBILITIES</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accent5"/>
                    </a:solidFill>
                  </a:tcPr>
                </a:tc>
              </a:tr>
              <a:tr h="45432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John </a:t>
                      </a:r>
                      <a:r>
                        <a:rPr kumimoji="0" lang="en-US" sz="1100" b="1" i="0" u="none" strike="noStrike" cap="none" normalizeH="0" baseline="0" dirty="0" err="1" smtClean="0">
                          <a:ln>
                            <a:noFill/>
                          </a:ln>
                          <a:solidFill>
                            <a:schemeClr val="tx1"/>
                          </a:solidFill>
                          <a:effectLst/>
                          <a:latin typeface="Arial" charset="0"/>
                          <a:cs typeface="Arial" charset="0"/>
                        </a:rPr>
                        <a:t>Buscema</a:t>
                      </a:r>
                      <a:endParaRPr kumimoji="0" lang="en-US" sz="1100" b="1" i="0" u="none" strike="noStrike" cap="none" normalizeH="0" baseline="0" dirty="0" smtClean="0">
                        <a:ln>
                          <a:noFill/>
                        </a:ln>
                        <a:solidFill>
                          <a:schemeClr val="tx1"/>
                        </a:solidFill>
                        <a:effectLst/>
                        <a:latin typeface="Arial" charset="0"/>
                        <a:cs typeface="Arial" charset="0"/>
                      </a:endParaRP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1100" dirty="0" smtClean="0">
                          <a:solidFill>
                            <a:schemeClr val="tx1"/>
                          </a:solidFill>
                        </a:rPr>
                        <a:t>Business Program Lead</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52388" indent="0"/>
                      <a:endParaRPr lang="en-US" sz="10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37147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err="1" smtClean="0">
                          <a:ln>
                            <a:noFill/>
                          </a:ln>
                          <a:solidFill>
                            <a:schemeClr val="tx1"/>
                          </a:solidFill>
                          <a:effectLst/>
                          <a:latin typeface="Arial" charset="0"/>
                          <a:cs typeface="Arial" charset="0"/>
                        </a:rPr>
                        <a:t>Mousuf</a:t>
                      </a:r>
                      <a:r>
                        <a:rPr kumimoji="0" lang="en-US" sz="1100" b="1" i="0" u="none" strike="noStrike" cap="none" normalizeH="0" baseline="0" dirty="0" smtClean="0">
                          <a:ln>
                            <a:noFill/>
                          </a:ln>
                          <a:solidFill>
                            <a:schemeClr val="tx1"/>
                          </a:solidFill>
                          <a:effectLst/>
                          <a:latin typeface="Arial" charset="0"/>
                          <a:cs typeface="Arial" charset="0"/>
                        </a:rPr>
                        <a:t> Chowdhury</a:t>
                      </a: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1100" dirty="0" smtClean="0">
                          <a:solidFill>
                            <a:schemeClr val="tx1"/>
                          </a:solidFill>
                        </a:rPr>
                        <a:t>Product Manager</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57150" marR="0" lvl="0" indent="-57150" algn="l" defTabSz="9144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effectLst/>
                          <a:latin typeface="+mn-lt"/>
                          <a:ea typeface="+mn-ea"/>
                          <a:cs typeface="+mn-cs"/>
                        </a:rPr>
                        <a:t>Makes strategic decisions regarding product vision, strategic prioritization and</a:t>
                      </a:r>
                      <a:r>
                        <a:rPr lang="en-US" sz="1000" b="0" i="0" kern="1200" baseline="0" dirty="0" smtClean="0">
                          <a:solidFill>
                            <a:schemeClr val="tx1"/>
                          </a:solidFill>
                          <a:effectLst/>
                          <a:latin typeface="+mn-lt"/>
                          <a:ea typeface="+mn-ea"/>
                          <a:cs typeface="+mn-cs"/>
                        </a:rPr>
                        <a:t> </a:t>
                      </a:r>
                      <a:r>
                        <a:rPr lang="en-US" sz="1000" b="0" i="0" kern="1200" dirty="0" smtClean="0">
                          <a:solidFill>
                            <a:schemeClr val="tx1"/>
                          </a:solidFill>
                          <a:effectLst/>
                          <a:latin typeface="+mn-lt"/>
                          <a:ea typeface="+mn-ea"/>
                          <a:cs typeface="+mn-cs"/>
                        </a:rPr>
                        <a:t>product resource allocation. BPM &amp; Corporate Actions</a:t>
                      </a:r>
                      <a:endParaRPr lang="en-US" sz="10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337244">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John </a:t>
                      </a:r>
                      <a:r>
                        <a:rPr kumimoji="0" lang="en-US" sz="1100" b="1" i="0" u="none" strike="noStrike" cap="none" normalizeH="0" baseline="0" dirty="0" err="1" smtClean="0">
                          <a:ln>
                            <a:noFill/>
                          </a:ln>
                          <a:solidFill>
                            <a:schemeClr val="tx1"/>
                          </a:solidFill>
                          <a:effectLst/>
                          <a:latin typeface="Arial" charset="0"/>
                          <a:cs typeface="Arial" charset="0"/>
                        </a:rPr>
                        <a:t>Frohnhofer</a:t>
                      </a:r>
                      <a:endParaRPr kumimoji="0" lang="en-US" sz="1100" b="1" i="0" u="none" strike="noStrike" cap="none" normalizeH="0" baseline="0" dirty="0" smtClean="0">
                        <a:ln>
                          <a:noFill/>
                        </a:ln>
                        <a:solidFill>
                          <a:schemeClr val="tx1"/>
                        </a:solidFill>
                        <a:effectLst/>
                        <a:latin typeface="Arial" charset="0"/>
                        <a:cs typeface="Arial" charset="0"/>
                      </a:endParaRP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1100" dirty="0" smtClean="0">
                          <a:solidFill>
                            <a:schemeClr val="tx1"/>
                          </a:solidFill>
                        </a:rPr>
                        <a:t>Product Manager</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57150" marR="0" lvl="0" indent="-57150" algn="l" defTabSz="9144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effectLst/>
                          <a:latin typeface="+mn-lt"/>
                          <a:ea typeface="+mn-ea"/>
                          <a:cs typeface="+mn-cs"/>
                        </a:rPr>
                        <a:t>Makes strategic decisions regarding product vision, strategic prioritization</a:t>
                      </a:r>
                      <a:r>
                        <a:rPr lang="en-US" sz="1000" b="0" i="0" kern="1200" baseline="0" dirty="0" smtClean="0">
                          <a:solidFill>
                            <a:schemeClr val="tx1"/>
                          </a:solidFill>
                          <a:effectLst/>
                          <a:latin typeface="+mn-lt"/>
                          <a:ea typeface="+mn-ea"/>
                          <a:cs typeface="+mn-cs"/>
                        </a:rPr>
                        <a:t> </a:t>
                      </a:r>
                      <a:r>
                        <a:rPr lang="en-US" sz="1000" b="0" i="0" kern="1200" dirty="0" smtClean="0">
                          <a:solidFill>
                            <a:schemeClr val="tx1"/>
                          </a:solidFill>
                          <a:effectLst/>
                          <a:latin typeface="+mn-lt"/>
                          <a:ea typeface="+mn-ea"/>
                          <a:cs typeface="+mn-cs"/>
                        </a:rPr>
                        <a:t>and product resource allocation. Position</a:t>
                      </a:r>
                      <a:r>
                        <a:rPr lang="en-US" sz="1000" b="0" i="0" kern="1200" baseline="0" dirty="0" smtClean="0">
                          <a:solidFill>
                            <a:schemeClr val="tx1"/>
                          </a:solidFill>
                          <a:effectLst/>
                          <a:latin typeface="+mn-lt"/>
                          <a:ea typeface="+mn-ea"/>
                          <a:cs typeface="+mn-cs"/>
                        </a:rPr>
                        <a:t>, P&amp;L +CFD</a:t>
                      </a:r>
                      <a:endParaRPr lang="en-US" sz="10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18097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Justin </a:t>
                      </a:r>
                      <a:r>
                        <a:rPr kumimoji="0" lang="en-US" sz="1100" b="1" i="0" u="none" strike="noStrike" cap="none" normalizeH="0" baseline="0" dirty="0" err="1" smtClean="0">
                          <a:ln>
                            <a:noFill/>
                          </a:ln>
                          <a:solidFill>
                            <a:schemeClr val="tx1"/>
                          </a:solidFill>
                          <a:effectLst/>
                          <a:latin typeface="Arial" charset="0"/>
                          <a:cs typeface="Arial" charset="0"/>
                        </a:rPr>
                        <a:t>Woddis</a:t>
                      </a:r>
                      <a:endParaRPr kumimoji="0" lang="en-US" sz="1100" b="1" i="0" u="none" strike="noStrike" cap="none" normalizeH="0" baseline="0" dirty="0" smtClean="0">
                        <a:ln>
                          <a:noFill/>
                        </a:ln>
                        <a:solidFill>
                          <a:schemeClr val="tx1"/>
                        </a:solidFill>
                        <a:effectLst/>
                        <a:latin typeface="Arial" charset="0"/>
                        <a:cs typeface="Arial" charset="0"/>
                      </a:endParaRP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1100" dirty="0" smtClean="0">
                          <a:solidFill>
                            <a:schemeClr val="tx1"/>
                          </a:solidFill>
                        </a:rPr>
                        <a:t>Product Manager</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57150" marR="0" lvl="0" indent="-57150" algn="l" defTabSz="9144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effectLst/>
                          <a:latin typeface="+mn-lt"/>
                          <a:ea typeface="+mn-ea"/>
                          <a:cs typeface="+mn-cs"/>
                        </a:rPr>
                        <a:t>Makes strategic decisions regarding product vision, strategic prioritization and product resource allocation. </a:t>
                      </a:r>
                      <a:r>
                        <a:rPr lang="en-US" sz="1000" baseline="0" dirty="0" smtClean="0">
                          <a:solidFill>
                            <a:schemeClr val="tx1"/>
                          </a:solidFill>
                        </a:rPr>
                        <a:t>Business Model</a:t>
                      </a:r>
                      <a:endParaRPr lang="en-US" sz="1000" dirty="0" smtClean="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Anthony </a:t>
                      </a:r>
                      <a:r>
                        <a:rPr kumimoji="0" lang="en-US" sz="1100" b="1" i="0" u="none" strike="noStrike" cap="none" normalizeH="0" baseline="0" dirty="0" err="1" smtClean="0">
                          <a:ln>
                            <a:noFill/>
                          </a:ln>
                          <a:solidFill>
                            <a:schemeClr val="tx1"/>
                          </a:solidFill>
                          <a:effectLst/>
                          <a:latin typeface="Arial" charset="0"/>
                          <a:cs typeface="Arial" charset="0"/>
                        </a:rPr>
                        <a:t>Mitzak</a:t>
                      </a:r>
                      <a:endParaRPr kumimoji="0" lang="en-US" sz="1100" b="1" i="0" u="none" strike="noStrike" cap="none" normalizeH="0" baseline="0" dirty="0" smtClean="0">
                        <a:ln>
                          <a:noFill/>
                        </a:ln>
                        <a:solidFill>
                          <a:schemeClr val="tx1"/>
                        </a:solidFill>
                        <a:effectLst/>
                        <a:latin typeface="Arial" charset="0"/>
                        <a:cs typeface="Arial" charset="0"/>
                      </a:endParaRP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1100" dirty="0" smtClean="0">
                          <a:solidFill>
                            <a:schemeClr val="tx1"/>
                          </a:solidFill>
                        </a:rPr>
                        <a:t>Product Analyst</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52388" indent="0"/>
                      <a:r>
                        <a:rPr lang="en-US" sz="1000" dirty="0" smtClean="0">
                          <a:solidFill>
                            <a:schemeClr val="tx1"/>
                          </a:solidFill>
                        </a:rPr>
                        <a:t>Writing</a:t>
                      </a:r>
                      <a:r>
                        <a:rPr lang="en-US" sz="1000" baseline="0" dirty="0" smtClean="0">
                          <a:solidFill>
                            <a:schemeClr val="tx1"/>
                          </a:solidFill>
                        </a:rPr>
                        <a:t> requirements and daily scrum</a:t>
                      </a:r>
                      <a:endParaRPr lang="en-US" sz="10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Dan </a:t>
                      </a:r>
                      <a:r>
                        <a:rPr kumimoji="0" lang="en-US" sz="1100" b="1" i="0" u="none" strike="noStrike" cap="none" normalizeH="0" baseline="0" smtClean="0">
                          <a:ln>
                            <a:noFill/>
                          </a:ln>
                          <a:solidFill>
                            <a:schemeClr val="tx1"/>
                          </a:solidFill>
                          <a:effectLst/>
                          <a:latin typeface="Arial" charset="0"/>
                          <a:cs typeface="Arial" charset="0"/>
                        </a:rPr>
                        <a:t>Distler</a:t>
                      </a:r>
                      <a:endParaRPr kumimoji="0" lang="en-US" sz="1100" b="1" i="0" u="none" strike="noStrike" cap="none" normalizeH="0" baseline="0" dirty="0" smtClean="0">
                        <a:ln>
                          <a:noFill/>
                        </a:ln>
                        <a:solidFill>
                          <a:schemeClr val="tx1"/>
                        </a:solidFill>
                        <a:effectLst/>
                        <a:latin typeface="Arial" charset="0"/>
                        <a:cs typeface="Arial" charset="0"/>
                      </a:endParaRP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Product Analyst</a:t>
                      </a: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52388" marR="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tx1"/>
                          </a:solidFill>
                        </a:rPr>
                        <a:t>Writing</a:t>
                      </a:r>
                      <a:r>
                        <a:rPr lang="en-US" sz="1000" baseline="0" dirty="0" smtClean="0">
                          <a:solidFill>
                            <a:schemeClr val="tx1"/>
                          </a:solidFill>
                        </a:rPr>
                        <a:t> requirements and daily scrum</a:t>
                      </a:r>
                      <a:endParaRPr lang="en-US" sz="1000" dirty="0" smtClean="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Jodi </a:t>
                      </a:r>
                      <a:r>
                        <a:rPr kumimoji="0" lang="en-US" sz="1100" b="1" i="0" u="none" strike="noStrike" cap="none" normalizeH="0" baseline="0" dirty="0" err="1" smtClean="0">
                          <a:ln>
                            <a:noFill/>
                          </a:ln>
                          <a:solidFill>
                            <a:schemeClr val="tx1"/>
                          </a:solidFill>
                          <a:effectLst/>
                          <a:latin typeface="Arial" charset="0"/>
                          <a:cs typeface="Arial" charset="0"/>
                        </a:rPr>
                        <a:t>Tarza</a:t>
                      </a:r>
                      <a:endParaRPr kumimoji="0" lang="en-US" sz="1100" b="1" i="0" u="none" strike="noStrike" cap="none" normalizeH="0" baseline="0" dirty="0" smtClean="0">
                        <a:ln>
                          <a:noFill/>
                        </a:ln>
                        <a:solidFill>
                          <a:schemeClr val="tx1"/>
                        </a:solidFill>
                        <a:effectLst/>
                        <a:latin typeface="Arial" charset="0"/>
                        <a:cs typeface="Arial" charset="0"/>
                      </a:endParaRP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Product Analyst</a:t>
                      </a: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52388" marR="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tx1"/>
                          </a:solidFill>
                        </a:rPr>
                        <a:t>Writing</a:t>
                      </a:r>
                      <a:r>
                        <a:rPr lang="en-US" sz="1000" baseline="0" dirty="0" smtClean="0">
                          <a:solidFill>
                            <a:schemeClr val="tx1"/>
                          </a:solidFill>
                        </a:rPr>
                        <a:t> requirements and daily scrum</a:t>
                      </a:r>
                      <a:endParaRPr lang="en-US" sz="1000" dirty="0" smtClean="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Mark </a:t>
                      </a:r>
                      <a:r>
                        <a:rPr kumimoji="0" lang="en-US" sz="1100" b="1" i="0" u="none" strike="noStrike" cap="none" normalizeH="0" baseline="0" dirty="0" err="1" smtClean="0">
                          <a:ln>
                            <a:noFill/>
                          </a:ln>
                          <a:solidFill>
                            <a:schemeClr val="tx1"/>
                          </a:solidFill>
                          <a:effectLst/>
                          <a:latin typeface="Arial" charset="0"/>
                          <a:cs typeface="Arial" charset="0"/>
                        </a:rPr>
                        <a:t>Daisley</a:t>
                      </a:r>
                      <a:endParaRPr kumimoji="0" lang="en-US" sz="1100" b="1" i="0" u="none" strike="noStrike" cap="none" normalizeH="0" baseline="0" dirty="0" smtClean="0">
                        <a:ln>
                          <a:noFill/>
                        </a:ln>
                        <a:solidFill>
                          <a:schemeClr val="tx1"/>
                        </a:solidFill>
                        <a:effectLst/>
                        <a:latin typeface="Arial" charset="0"/>
                        <a:cs typeface="Arial" charset="0"/>
                      </a:endParaRP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1100" dirty="0" smtClean="0">
                          <a:solidFill>
                            <a:schemeClr val="tx1"/>
                          </a:solidFill>
                        </a:rPr>
                        <a:t> Project Manager</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52388" indent="0"/>
                      <a:r>
                        <a:rPr lang="en-US" sz="1000" dirty="0" smtClean="0">
                          <a:solidFill>
                            <a:schemeClr val="tx1"/>
                          </a:solidFill>
                          <a:effectLst/>
                        </a:rPr>
                        <a:t>Responsible for communication, including status reporting, risk management, escalation of issues that cannot be resolved in the team, and, in general, making sure the project is delivered on schedule, and within scope.</a:t>
                      </a:r>
                      <a:endParaRPr lang="en-US" sz="10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444242">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a:t>
                      </a: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57150" indent="0"/>
                      <a:r>
                        <a:rPr lang="en-US" sz="1100" dirty="0" smtClean="0">
                          <a:solidFill>
                            <a:schemeClr val="tx1"/>
                          </a:solidFill>
                        </a:rPr>
                        <a:t>Quality</a:t>
                      </a:r>
                      <a:r>
                        <a:rPr lang="en-US" sz="1100" baseline="0" dirty="0" smtClean="0">
                          <a:solidFill>
                            <a:schemeClr val="tx1"/>
                          </a:solidFill>
                        </a:rPr>
                        <a:t> Assurance  Team</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57150" indent="0"/>
                      <a:r>
                        <a:rPr lang="en-US" sz="1000" dirty="0" smtClean="0">
                          <a:solidFill>
                            <a:schemeClr val="tx1"/>
                          </a:solidFill>
                        </a:rPr>
                        <a:t>Responsible for initiating and implementing</a:t>
                      </a:r>
                      <a:r>
                        <a:rPr lang="en-US" sz="1000" baseline="0" dirty="0" smtClean="0">
                          <a:solidFill>
                            <a:schemeClr val="tx1"/>
                          </a:solidFill>
                        </a:rPr>
                        <a:t> necessary test  plan based on project requirements &amp; communicating test metrics.</a:t>
                      </a:r>
                      <a:endParaRPr lang="en-US" sz="10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5" name="Group 984"/>
          <p:cNvGraphicFramePr>
            <a:graphicFrameLocks noGrp="1"/>
          </p:cNvGraphicFramePr>
          <p:nvPr>
            <p:extLst>
              <p:ext uri="{D42A27DB-BD31-4B8C-83A1-F6EECF244321}">
                <p14:modId xmlns:p14="http://schemas.microsoft.com/office/powerpoint/2010/main" val="3367015475"/>
              </p:ext>
            </p:extLst>
          </p:nvPr>
        </p:nvGraphicFramePr>
        <p:xfrm>
          <a:off x="518987" y="4244933"/>
          <a:ext cx="7901113" cy="2148247"/>
        </p:xfrm>
        <a:graphic>
          <a:graphicData uri="http://schemas.openxmlformats.org/drawingml/2006/table">
            <a:tbl>
              <a:tblPr/>
              <a:tblGrid>
                <a:gridCol w="1957513"/>
                <a:gridCol w="1387729"/>
                <a:gridCol w="4555871"/>
              </a:tblGrid>
              <a:tr h="444242">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400" b="1" i="0" u="none" strike="noStrike" cap="none" normalizeH="0" baseline="0" dirty="0" smtClean="0">
                          <a:ln>
                            <a:noFill/>
                          </a:ln>
                          <a:solidFill>
                            <a:schemeClr val="bg1"/>
                          </a:solidFill>
                          <a:effectLst/>
                          <a:latin typeface="Arial" charset="0"/>
                          <a:cs typeface="Arial" charset="0"/>
                        </a:rPr>
                        <a:t>TEAM MEMBERS</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400" b="1" i="0" u="none" strike="noStrike" cap="none" normalizeH="0" baseline="0" dirty="0" smtClean="0">
                          <a:ln>
                            <a:noFill/>
                          </a:ln>
                          <a:solidFill>
                            <a:schemeClr val="bg1"/>
                          </a:solidFill>
                          <a:effectLst/>
                          <a:latin typeface="Arial" charset="0"/>
                          <a:cs typeface="Arial" charset="0"/>
                        </a:rPr>
                        <a:t>ROLE</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400" b="1" i="0" u="none" strike="noStrike" cap="none" normalizeH="0" baseline="0" dirty="0" smtClean="0">
                          <a:ln>
                            <a:noFill/>
                          </a:ln>
                          <a:solidFill>
                            <a:schemeClr val="bg1"/>
                          </a:solidFill>
                          <a:effectLst/>
                          <a:latin typeface="Arial" charset="0"/>
                          <a:cs typeface="Arial" charset="0"/>
                        </a:rPr>
                        <a:t>RESPONSIBILITIES</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accent5"/>
                    </a:solidFill>
                  </a:tcPr>
                </a:tc>
              </a:tr>
              <a:tr h="45432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Jeff Tyler</a:t>
                      </a: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1100" dirty="0" smtClean="0">
                          <a:solidFill>
                            <a:schemeClr val="tx1"/>
                          </a:solidFill>
                        </a:rPr>
                        <a:t>R&amp;D Program Lead</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52388" indent="0"/>
                      <a:r>
                        <a:rPr lang="en-US" sz="1000" dirty="0" smtClean="0">
                          <a:solidFill>
                            <a:schemeClr val="tx1"/>
                          </a:solidFill>
                        </a:rPr>
                        <a:t>Responsible</a:t>
                      </a:r>
                      <a:r>
                        <a:rPr lang="en-US" sz="1000" baseline="0" dirty="0" smtClean="0">
                          <a:solidFill>
                            <a:schemeClr val="tx1"/>
                          </a:solidFill>
                        </a:rPr>
                        <a:t> for build and delivery of software</a:t>
                      </a:r>
                      <a:endParaRPr lang="en-US" sz="10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37147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err="1" smtClean="0">
                          <a:ln>
                            <a:noFill/>
                          </a:ln>
                          <a:solidFill>
                            <a:schemeClr val="tx1"/>
                          </a:solidFill>
                          <a:effectLst/>
                          <a:latin typeface="Arial" charset="0"/>
                          <a:cs typeface="Arial" charset="0"/>
                        </a:rPr>
                        <a:t>Vasanth</a:t>
                      </a:r>
                      <a:r>
                        <a:rPr kumimoji="0" lang="en-US" sz="1100" b="1" i="0" u="none" strike="noStrike" cap="none" normalizeH="0" baseline="0" dirty="0" smtClean="0">
                          <a:ln>
                            <a:noFill/>
                          </a:ln>
                          <a:solidFill>
                            <a:schemeClr val="tx1"/>
                          </a:solidFill>
                          <a:effectLst/>
                          <a:latin typeface="Arial" charset="0"/>
                          <a:cs typeface="Arial" charset="0"/>
                        </a:rPr>
                        <a:t> Kumar</a:t>
                      </a: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1100" dirty="0" smtClean="0">
                          <a:solidFill>
                            <a:schemeClr val="tx1"/>
                          </a:solidFill>
                        </a:rPr>
                        <a:t>R&amp;D Lead</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57150" marR="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tx1"/>
                          </a:solidFill>
                        </a:rPr>
                        <a:t>Responsible</a:t>
                      </a:r>
                      <a:r>
                        <a:rPr lang="en-US" sz="1000" baseline="0" dirty="0" smtClean="0">
                          <a:solidFill>
                            <a:schemeClr val="tx1"/>
                          </a:solidFill>
                        </a:rPr>
                        <a:t> for build and delivery of software – Positions, P&amp;L</a:t>
                      </a:r>
                      <a:endParaRPr lang="en-US" sz="1000" dirty="0" smtClean="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337244">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err="1" smtClean="0">
                          <a:ln>
                            <a:noFill/>
                          </a:ln>
                          <a:solidFill>
                            <a:schemeClr val="tx1"/>
                          </a:solidFill>
                          <a:effectLst/>
                          <a:latin typeface="Arial" charset="0"/>
                          <a:cs typeface="Arial" charset="0"/>
                        </a:rPr>
                        <a:t>Suvankar</a:t>
                      </a:r>
                      <a:r>
                        <a:rPr kumimoji="0" lang="en-US" sz="1100" b="1" i="0" u="none" strike="noStrike" cap="none" normalizeH="0" baseline="0" dirty="0" smtClean="0">
                          <a:ln>
                            <a:noFill/>
                          </a:ln>
                          <a:solidFill>
                            <a:schemeClr val="tx1"/>
                          </a:solidFill>
                          <a:effectLst/>
                          <a:latin typeface="Arial" charset="0"/>
                          <a:cs typeface="Arial" charset="0"/>
                        </a:rPr>
                        <a:t> </a:t>
                      </a:r>
                      <a:r>
                        <a:rPr kumimoji="0" lang="en-US" sz="1100" b="1" i="0" u="none" strike="noStrike" cap="none" normalizeH="0" baseline="0" dirty="0" err="1" smtClean="0">
                          <a:ln>
                            <a:noFill/>
                          </a:ln>
                          <a:solidFill>
                            <a:schemeClr val="tx1"/>
                          </a:solidFill>
                          <a:effectLst/>
                          <a:latin typeface="Arial" charset="0"/>
                          <a:cs typeface="Arial" charset="0"/>
                        </a:rPr>
                        <a:t>Mazumder</a:t>
                      </a:r>
                      <a:endParaRPr kumimoji="0" lang="en-US" sz="1100" b="1" i="0" u="none" strike="noStrike" cap="none" normalizeH="0" baseline="0" dirty="0" smtClean="0">
                        <a:ln>
                          <a:noFill/>
                        </a:ln>
                        <a:solidFill>
                          <a:schemeClr val="tx1"/>
                        </a:solidFill>
                        <a:effectLst/>
                        <a:latin typeface="Arial" charset="0"/>
                        <a:cs typeface="Arial" charset="0"/>
                      </a:endParaRP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R&amp;D Lead</a:t>
                      </a: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57150" marR="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tx1"/>
                          </a:solidFill>
                        </a:rPr>
                        <a:t>Responsible</a:t>
                      </a:r>
                      <a:r>
                        <a:rPr lang="en-US" sz="1000" baseline="0" dirty="0" smtClean="0">
                          <a:solidFill>
                            <a:schemeClr val="tx1"/>
                          </a:solidFill>
                        </a:rPr>
                        <a:t> for build and delivery of software – Business Model</a:t>
                      </a:r>
                      <a:endParaRPr lang="en-US" sz="1000" dirty="0" smtClean="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18097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err="1" smtClean="0">
                          <a:ln>
                            <a:noFill/>
                          </a:ln>
                          <a:solidFill>
                            <a:schemeClr val="tx1"/>
                          </a:solidFill>
                          <a:effectLst/>
                          <a:latin typeface="Arial" charset="0"/>
                          <a:cs typeface="Arial" charset="0"/>
                        </a:rPr>
                        <a:t>Colm</a:t>
                      </a:r>
                      <a:r>
                        <a:rPr kumimoji="0" lang="en-US" sz="1100" b="1" i="0" u="none" strike="noStrike" cap="none" normalizeH="0" baseline="0" dirty="0" smtClean="0">
                          <a:ln>
                            <a:noFill/>
                          </a:ln>
                          <a:solidFill>
                            <a:schemeClr val="tx1"/>
                          </a:solidFill>
                          <a:effectLst/>
                          <a:latin typeface="Arial" charset="0"/>
                          <a:cs typeface="Arial" charset="0"/>
                        </a:rPr>
                        <a:t> Reilly</a:t>
                      </a: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R&amp;D Lead</a:t>
                      </a: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57150" marR="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tx1"/>
                          </a:solidFill>
                        </a:rPr>
                        <a:t>Responsible</a:t>
                      </a:r>
                      <a:r>
                        <a:rPr lang="en-US" sz="1000" baseline="0" dirty="0" smtClean="0">
                          <a:solidFill>
                            <a:schemeClr val="tx1"/>
                          </a:solidFill>
                        </a:rPr>
                        <a:t> for build and delivery of software – Backend processes</a:t>
                      </a:r>
                      <a:endParaRPr lang="en-US" sz="1000" dirty="0" smtClean="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Ajay </a:t>
                      </a:r>
                      <a:r>
                        <a:rPr kumimoji="0" lang="en-US" sz="1100" b="1" i="0" u="none" strike="noStrike" cap="none" normalizeH="0" baseline="0" dirty="0" err="1" smtClean="0">
                          <a:ln>
                            <a:noFill/>
                          </a:ln>
                          <a:solidFill>
                            <a:schemeClr val="tx1"/>
                          </a:solidFill>
                          <a:effectLst/>
                          <a:latin typeface="Arial" charset="0"/>
                          <a:cs typeface="Arial" charset="0"/>
                        </a:rPr>
                        <a:t>Roopchansingh</a:t>
                      </a:r>
                      <a:endParaRPr kumimoji="0" lang="en-US" sz="1100" b="1" i="0" u="none" strike="noStrike" cap="none" normalizeH="0" baseline="0" dirty="0" smtClean="0">
                        <a:ln>
                          <a:noFill/>
                        </a:ln>
                        <a:solidFill>
                          <a:schemeClr val="tx1"/>
                        </a:solidFill>
                        <a:effectLst/>
                        <a:latin typeface="Arial" charset="0"/>
                        <a:cs typeface="Arial" charset="0"/>
                      </a:endParaRP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1100" dirty="0" smtClean="0">
                          <a:solidFill>
                            <a:schemeClr val="tx1"/>
                          </a:solidFill>
                        </a:rPr>
                        <a:t> Project Manager</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57150" marR="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tx1"/>
                          </a:solidFill>
                        </a:rPr>
                        <a:t>Responsible</a:t>
                      </a:r>
                      <a:r>
                        <a:rPr lang="en-US" sz="1000" baseline="0" dirty="0" smtClean="0">
                          <a:solidFill>
                            <a:schemeClr val="tx1"/>
                          </a:solidFill>
                        </a:rPr>
                        <a:t> for build and delivery of software – Transactions and blotters</a:t>
                      </a:r>
                      <a:endParaRPr lang="en-US" sz="1000" dirty="0" smtClean="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bl>
          </a:graphicData>
        </a:graphic>
      </p:graphicFrame>
      <p:sp>
        <p:nvSpPr>
          <p:cNvPr id="6" name="Rectangle 5"/>
          <p:cNvSpPr/>
          <p:nvPr/>
        </p:nvSpPr>
        <p:spPr>
          <a:xfrm>
            <a:off x="1594270" y="2967335"/>
            <a:ext cx="5955477" cy="923330"/>
          </a:xfrm>
          <a:prstGeom prst="rect">
            <a:avLst/>
          </a:prstGeom>
          <a:noFill/>
        </p:spPr>
        <p:txBody>
          <a:bodyPr wrap="none" lIns="91440" tIns="45720" rIns="91440" bIns="45720">
            <a:spAutoFit/>
            <a:scene3d>
              <a:camera prst="orthographicFront"/>
              <a:lightRig rig="flat" dir="tl"/>
            </a:scene3d>
            <a:sp3d contourW="19050" prstMaterial="clear">
              <a:bevelT w="50800" h="50800"/>
              <a:contourClr>
                <a:schemeClr val="accent5">
                  <a:tint val="70000"/>
                  <a:satMod val="180000"/>
                  <a:alpha val="70000"/>
                </a:schemeClr>
              </a:contourClr>
            </a:sp3d>
          </a:bodyPr>
          <a:lstStyle/>
          <a:p>
            <a:pPr algn="ctr"/>
            <a:r>
              <a:rPr lang="en-US" sz="5400" b="1" dirty="0" smtClean="0">
                <a:ln/>
                <a:solidFill>
                  <a:schemeClr val="accent5">
                    <a:tint val="50000"/>
                    <a:satMod val="180000"/>
                  </a:schemeClr>
                </a:solidFill>
              </a:rPr>
              <a:t>Cut this list down</a:t>
            </a:r>
            <a:endParaRPr lang="en-US" sz="5400" b="1" cap="none" spc="0" dirty="0">
              <a:ln/>
              <a:solidFill>
                <a:schemeClr val="accent5">
                  <a:tint val="50000"/>
                  <a:satMod val="180000"/>
                </a:schemeClr>
              </a:solidFill>
              <a:effectLst/>
            </a:endParaRPr>
          </a:p>
        </p:txBody>
      </p:sp>
    </p:spTree>
    <p:extLst>
      <p:ext uri="{BB962C8B-B14F-4D97-AF65-F5344CB8AC3E}">
        <p14:creationId xmlns:p14="http://schemas.microsoft.com/office/powerpoint/2010/main" val="25238121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keholders </a:t>
            </a:r>
            <a:r>
              <a:rPr lang="en-US" dirty="0" smtClean="0">
                <a:solidFill>
                  <a:srgbClr val="00B0F0"/>
                </a:solidFill>
              </a:rPr>
              <a:t>Outside of team</a:t>
            </a:r>
            <a:endParaRPr lang="en-US" dirty="0">
              <a:solidFill>
                <a:srgbClr val="00B0F0"/>
              </a:solidFill>
            </a:endParaRPr>
          </a:p>
        </p:txBody>
      </p:sp>
      <p:sp>
        <p:nvSpPr>
          <p:cNvPr id="3" name="Slide Number Placeholder 2"/>
          <p:cNvSpPr>
            <a:spLocks noGrp="1"/>
          </p:cNvSpPr>
          <p:nvPr>
            <p:ph type="sldNum" sz="quarter" idx="12"/>
          </p:nvPr>
        </p:nvSpPr>
        <p:spPr/>
        <p:txBody>
          <a:bodyPr/>
          <a:lstStyle/>
          <a:p>
            <a:fld id="{B383C57C-80DA-45D5-BFE5-7583B8192761}" type="slidenum">
              <a:rPr lang="en-US" smtClean="0"/>
              <a:pPr/>
              <a:t>5</a:t>
            </a:fld>
            <a:endParaRPr lang="en-US" dirty="0"/>
          </a:p>
        </p:txBody>
      </p:sp>
      <p:graphicFrame>
        <p:nvGraphicFramePr>
          <p:cNvPr id="5" name="Group 984"/>
          <p:cNvGraphicFramePr>
            <a:graphicFrameLocks noGrp="1"/>
          </p:cNvGraphicFramePr>
          <p:nvPr>
            <p:extLst>
              <p:ext uri="{D42A27DB-BD31-4B8C-83A1-F6EECF244321}">
                <p14:modId xmlns:p14="http://schemas.microsoft.com/office/powerpoint/2010/main" val="1676982944"/>
              </p:ext>
            </p:extLst>
          </p:nvPr>
        </p:nvGraphicFramePr>
        <p:xfrm>
          <a:off x="357062" y="1092158"/>
          <a:ext cx="3345242" cy="4948597"/>
        </p:xfrm>
        <a:graphic>
          <a:graphicData uri="http://schemas.openxmlformats.org/drawingml/2006/table">
            <a:tbl>
              <a:tblPr/>
              <a:tblGrid>
                <a:gridCol w="1728913"/>
                <a:gridCol w="1616329"/>
              </a:tblGrid>
              <a:tr h="444242">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400" b="1" i="0" u="none" strike="noStrike" cap="none" normalizeH="0" baseline="0" dirty="0" smtClean="0">
                          <a:ln>
                            <a:noFill/>
                          </a:ln>
                          <a:solidFill>
                            <a:schemeClr val="bg1"/>
                          </a:solidFill>
                          <a:effectLst/>
                          <a:latin typeface="Arial" charset="0"/>
                          <a:cs typeface="Arial" charset="0"/>
                        </a:rPr>
                        <a:t>Name</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400" b="1" i="0" u="none" strike="noStrike" cap="none" normalizeH="0" baseline="0" dirty="0" smtClean="0">
                          <a:ln>
                            <a:noFill/>
                          </a:ln>
                          <a:solidFill>
                            <a:schemeClr val="bg1"/>
                          </a:solidFill>
                          <a:effectLst/>
                          <a:latin typeface="Arial" charset="0"/>
                          <a:cs typeface="Arial" charset="0"/>
                        </a:rPr>
                        <a:t>Position</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accent5"/>
                    </a:solidFill>
                  </a:tcPr>
                </a:tc>
              </a:tr>
              <a:tr h="45432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Ray Tierney</a:t>
                      </a: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1100" dirty="0" smtClean="0">
                          <a:solidFill>
                            <a:schemeClr val="tx1"/>
                          </a:solidFill>
                        </a:rPr>
                        <a:t>Program Sponsor</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37147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Christina Villa</a:t>
                      </a: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1100" dirty="0" smtClean="0">
                          <a:solidFill>
                            <a:schemeClr val="tx1"/>
                          </a:solidFill>
                        </a:rPr>
                        <a:t>TS COO</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337244">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Jessica Hatch</a:t>
                      </a: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Go-to-market</a:t>
                      </a: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18097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Ken Sherman</a:t>
                      </a: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PMO</a:t>
                      </a: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Rebecca </a:t>
                      </a:r>
                      <a:r>
                        <a:rPr kumimoji="0" lang="en-US" sz="1100" b="1" i="0" u="none" strike="noStrike" cap="none" normalizeH="0" baseline="0" dirty="0" err="1" smtClean="0">
                          <a:ln>
                            <a:noFill/>
                          </a:ln>
                          <a:solidFill>
                            <a:schemeClr val="tx1"/>
                          </a:solidFill>
                          <a:effectLst/>
                          <a:latin typeface="Arial" charset="0"/>
                          <a:cs typeface="Arial" charset="0"/>
                        </a:rPr>
                        <a:t>Tayne</a:t>
                      </a:r>
                      <a:endParaRPr kumimoji="0" lang="en-US" sz="1100" b="1" i="0" u="none" strike="noStrike" cap="none" normalizeH="0" baseline="0" dirty="0" smtClean="0">
                        <a:ln>
                          <a:noFill/>
                        </a:ln>
                        <a:solidFill>
                          <a:schemeClr val="tx1"/>
                        </a:solidFill>
                        <a:effectLst/>
                        <a:latin typeface="Arial" charset="0"/>
                        <a:cs typeface="Arial" charset="0"/>
                      </a:endParaRP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1100" dirty="0" smtClean="0">
                          <a:solidFill>
                            <a:schemeClr val="tx1"/>
                          </a:solidFill>
                        </a:rPr>
                        <a:t> </a:t>
                      </a:r>
                      <a:r>
                        <a:rPr lang="en-US" sz="1100" dirty="0" err="1" smtClean="0">
                          <a:solidFill>
                            <a:schemeClr val="tx1"/>
                          </a:solidFill>
                        </a:rPr>
                        <a:t>Buyside</a:t>
                      </a:r>
                      <a:r>
                        <a:rPr lang="en-US" sz="1100" dirty="0" smtClean="0">
                          <a:solidFill>
                            <a:schemeClr val="tx1"/>
                          </a:solidFill>
                        </a:rPr>
                        <a:t> COO</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Eric Lewin</a:t>
                      </a: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1100" dirty="0" err="1" smtClean="0">
                          <a:solidFill>
                            <a:schemeClr val="tx1"/>
                          </a:solidFill>
                        </a:rPr>
                        <a:t>Sellside</a:t>
                      </a:r>
                      <a:r>
                        <a:rPr lang="en-US" sz="1100" dirty="0" smtClean="0">
                          <a:solidFill>
                            <a:schemeClr val="tx1"/>
                          </a:solidFill>
                        </a:rPr>
                        <a:t> COO</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David </a:t>
                      </a:r>
                      <a:r>
                        <a:rPr kumimoji="0" lang="en-US" sz="1100" b="1" i="0" u="none" strike="noStrike" cap="none" normalizeH="0" baseline="0" dirty="0" err="1" smtClean="0">
                          <a:ln>
                            <a:noFill/>
                          </a:ln>
                          <a:solidFill>
                            <a:schemeClr val="tx1"/>
                          </a:solidFill>
                          <a:effectLst/>
                          <a:latin typeface="Arial" charset="0"/>
                          <a:cs typeface="Arial" charset="0"/>
                        </a:rPr>
                        <a:t>Weisburg</a:t>
                      </a:r>
                      <a:endParaRPr kumimoji="0" lang="en-US" sz="1100" b="1" i="0" u="none" strike="noStrike" cap="none" normalizeH="0" baseline="0" dirty="0" smtClean="0">
                        <a:ln>
                          <a:noFill/>
                        </a:ln>
                        <a:solidFill>
                          <a:schemeClr val="tx1"/>
                        </a:solidFill>
                        <a:effectLst/>
                        <a:latin typeface="Arial" charset="0"/>
                        <a:cs typeface="Arial" charset="0"/>
                      </a:endParaRP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1100" dirty="0" smtClean="0">
                          <a:solidFill>
                            <a:schemeClr val="tx1"/>
                          </a:solidFill>
                        </a:rPr>
                        <a:t>CRO</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err="1" smtClean="0">
                          <a:ln>
                            <a:noFill/>
                          </a:ln>
                          <a:solidFill>
                            <a:schemeClr val="tx1"/>
                          </a:solidFill>
                          <a:effectLst/>
                          <a:latin typeface="Arial" charset="0"/>
                          <a:cs typeface="Arial" charset="0"/>
                        </a:rPr>
                        <a:t>Palak</a:t>
                      </a:r>
                      <a:r>
                        <a:rPr kumimoji="0" lang="en-US" sz="1100" b="1" i="0" u="none" strike="noStrike" cap="none" normalizeH="0" baseline="0" dirty="0" smtClean="0">
                          <a:ln>
                            <a:noFill/>
                          </a:ln>
                          <a:solidFill>
                            <a:schemeClr val="tx1"/>
                          </a:solidFill>
                          <a:effectLst/>
                          <a:latin typeface="Arial" charset="0"/>
                          <a:cs typeface="Arial" charset="0"/>
                        </a:rPr>
                        <a:t> Patel</a:t>
                      </a: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1100" dirty="0" smtClean="0">
                          <a:solidFill>
                            <a:schemeClr val="tx1"/>
                          </a:solidFill>
                        </a:rPr>
                        <a:t>AIM Product</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Sunil Biswas</a:t>
                      </a: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1100" dirty="0" smtClean="0">
                          <a:solidFill>
                            <a:schemeClr val="tx1"/>
                          </a:solidFill>
                        </a:rPr>
                        <a:t>TOMS Product</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Linda </a:t>
                      </a:r>
                      <a:r>
                        <a:rPr kumimoji="0" lang="en-US" sz="1100" b="1" i="0" u="none" strike="noStrike" cap="none" normalizeH="0" baseline="0" dirty="0" err="1" smtClean="0">
                          <a:ln>
                            <a:noFill/>
                          </a:ln>
                          <a:solidFill>
                            <a:schemeClr val="tx1"/>
                          </a:solidFill>
                          <a:effectLst/>
                          <a:latin typeface="Arial" charset="0"/>
                          <a:cs typeface="Arial" charset="0"/>
                        </a:rPr>
                        <a:t>Middleditch</a:t>
                      </a:r>
                      <a:endParaRPr kumimoji="0" lang="en-US" sz="1100" b="1" i="0" u="none" strike="noStrike" cap="none" normalizeH="0" baseline="0" dirty="0" smtClean="0">
                        <a:ln>
                          <a:noFill/>
                        </a:ln>
                        <a:solidFill>
                          <a:schemeClr val="tx1"/>
                        </a:solidFill>
                        <a:effectLst/>
                        <a:latin typeface="Arial" charset="0"/>
                        <a:cs typeface="Arial" charset="0"/>
                      </a:endParaRP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1100" dirty="0" smtClean="0">
                          <a:solidFill>
                            <a:schemeClr val="tx1"/>
                          </a:solidFill>
                        </a:rPr>
                        <a:t>SSEOMS Product</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Shawn Edwards</a:t>
                      </a: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1100" dirty="0" smtClean="0">
                          <a:solidFill>
                            <a:schemeClr val="tx1"/>
                          </a:solidFill>
                        </a:rPr>
                        <a:t>CTO</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Vlad </a:t>
                      </a:r>
                      <a:r>
                        <a:rPr kumimoji="0" lang="en-US" sz="1100" b="1" i="0" u="none" strike="noStrike" cap="none" normalizeH="0" baseline="0" dirty="0" err="1" smtClean="0">
                          <a:ln>
                            <a:noFill/>
                          </a:ln>
                          <a:solidFill>
                            <a:schemeClr val="tx1"/>
                          </a:solidFill>
                          <a:effectLst/>
                          <a:latin typeface="Arial" charset="0"/>
                          <a:cs typeface="Arial" charset="0"/>
                        </a:rPr>
                        <a:t>Kliatchko</a:t>
                      </a:r>
                      <a:endParaRPr kumimoji="0" lang="en-US" sz="1100" b="1" i="0" u="none" strike="noStrike" cap="none" normalizeH="0" baseline="0" dirty="0" smtClean="0">
                        <a:ln>
                          <a:noFill/>
                        </a:ln>
                        <a:solidFill>
                          <a:schemeClr val="tx1"/>
                        </a:solidFill>
                        <a:effectLst/>
                        <a:latin typeface="Arial" charset="0"/>
                        <a:cs typeface="Arial" charset="0"/>
                      </a:endParaRP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1100" dirty="0" smtClean="0">
                          <a:solidFill>
                            <a:schemeClr val="tx1"/>
                          </a:solidFill>
                        </a:rPr>
                        <a:t>Technology</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err="1" smtClean="0">
                          <a:ln>
                            <a:noFill/>
                          </a:ln>
                          <a:solidFill>
                            <a:schemeClr val="tx1"/>
                          </a:solidFill>
                          <a:effectLst/>
                          <a:latin typeface="Arial" charset="0"/>
                          <a:cs typeface="Arial" charset="0"/>
                        </a:rPr>
                        <a:t>Stig</a:t>
                      </a:r>
                      <a:r>
                        <a:rPr kumimoji="0" lang="en-US" sz="1100" b="1" i="0" u="none" strike="noStrike" cap="none" normalizeH="0" baseline="0" dirty="0" smtClean="0">
                          <a:ln>
                            <a:noFill/>
                          </a:ln>
                          <a:solidFill>
                            <a:schemeClr val="tx1"/>
                          </a:solidFill>
                          <a:effectLst/>
                          <a:latin typeface="Arial" charset="0"/>
                          <a:cs typeface="Arial" charset="0"/>
                        </a:rPr>
                        <a:t> Sorensen</a:t>
                      </a: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1100" dirty="0" smtClean="0">
                          <a:solidFill>
                            <a:schemeClr val="tx1"/>
                          </a:solidFill>
                        </a:rPr>
                        <a:t>R&amp;D AIM</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Peter Levesque</a:t>
                      </a: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1100" dirty="0" smtClean="0">
                          <a:solidFill>
                            <a:schemeClr val="tx1"/>
                          </a:solidFill>
                        </a:rPr>
                        <a:t>R&amp;D TOMS</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Chow Lee</a:t>
                      </a: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1100" dirty="0" smtClean="0">
                          <a:solidFill>
                            <a:schemeClr val="tx1"/>
                          </a:solidFill>
                        </a:rPr>
                        <a:t>R&amp;D SSEOMS</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6" name="Group 984"/>
          <p:cNvGraphicFramePr>
            <a:graphicFrameLocks noGrp="1"/>
          </p:cNvGraphicFramePr>
          <p:nvPr>
            <p:extLst>
              <p:ext uri="{D42A27DB-BD31-4B8C-83A1-F6EECF244321}">
                <p14:modId xmlns:p14="http://schemas.microsoft.com/office/powerpoint/2010/main" val="2514301679"/>
              </p:ext>
            </p:extLst>
          </p:nvPr>
        </p:nvGraphicFramePr>
        <p:xfrm>
          <a:off x="4224212" y="1092158"/>
          <a:ext cx="3345242" cy="3524627"/>
        </p:xfrm>
        <a:graphic>
          <a:graphicData uri="http://schemas.openxmlformats.org/drawingml/2006/table">
            <a:tbl>
              <a:tblPr/>
              <a:tblGrid>
                <a:gridCol w="1719388"/>
                <a:gridCol w="1625854"/>
              </a:tblGrid>
              <a:tr h="444242">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400" b="1" i="0" u="none" strike="noStrike" cap="none" normalizeH="0" baseline="0" dirty="0" smtClean="0">
                          <a:ln>
                            <a:noFill/>
                          </a:ln>
                          <a:solidFill>
                            <a:schemeClr val="bg1"/>
                          </a:solidFill>
                          <a:effectLst/>
                          <a:latin typeface="Arial" charset="0"/>
                          <a:cs typeface="Arial" charset="0"/>
                        </a:rPr>
                        <a:t>Name</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400" b="1" i="0" u="none" strike="noStrike" cap="none" normalizeH="0" baseline="0" dirty="0" smtClean="0">
                          <a:ln>
                            <a:noFill/>
                          </a:ln>
                          <a:solidFill>
                            <a:schemeClr val="bg1"/>
                          </a:solidFill>
                          <a:effectLst/>
                          <a:latin typeface="Arial" charset="0"/>
                          <a:cs typeface="Arial" charset="0"/>
                        </a:rPr>
                        <a:t>Position</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accent5"/>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Shawn Edwards</a:t>
                      </a: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1100" dirty="0" smtClean="0">
                          <a:solidFill>
                            <a:schemeClr val="tx1"/>
                          </a:solidFill>
                        </a:rPr>
                        <a:t>CTO</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Vlad </a:t>
                      </a:r>
                      <a:r>
                        <a:rPr kumimoji="0" lang="en-US" sz="1100" b="1" i="0" u="none" strike="noStrike" cap="none" normalizeH="0" baseline="0" dirty="0" err="1" smtClean="0">
                          <a:ln>
                            <a:noFill/>
                          </a:ln>
                          <a:solidFill>
                            <a:schemeClr val="tx1"/>
                          </a:solidFill>
                          <a:effectLst/>
                          <a:latin typeface="Arial" charset="0"/>
                          <a:cs typeface="Arial" charset="0"/>
                        </a:rPr>
                        <a:t>Kliatchko</a:t>
                      </a:r>
                      <a:endParaRPr kumimoji="0" lang="en-US" sz="1100" b="1" i="0" u="none" strike="noStrike" cap="none" normalizeH="0" baseline="0" dirty="0" smtClean="0">
                        <a:ln>
                          <a:noFill/>
                        </a:ln>
                        <a:solidFill>
                          <a:schemeClr val="tx1"/>
                        </a:solidFill>
                        <a:effectLst/>
                        <a:latin typeface="Arial" charset="0"/>
                        <a:cs typeface="Arial" charset="0"/>
                      </a:endParaRP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1100" dirty="0" smtClean="0">
                          <a:solidFill>
                            <a:schemeClr val="tx1"/>
                          </a:solidFill>
                        </a:rPr>
                        <a:t>Technology</a:t>
                      </a:r>
                      <a:endParaRPr lang="en-US" sz="1100" dirty="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Sergey </a:t>
                      </a:r>
                      <a:r>
                        <a:rPr kumimoji="0" lang="en-US" sz="1100" b="1" i="0" u="none" strike="noStrike" cap="none" normalizeH="0" baseline="0" dirty="0" err="1" smtClean="0">
                          <a:ln>
                            <a:noFill/>
                          </a:ln>
                          <a:solidFill>
                            <a:schemeClr val="tx1"/>
                          </a:solidFill>
                          <a:effectLst/>
                          <a:latin typeface="Arial" charset="0"/>
                          <a:cs typeface="Arial" charset="0"/>
                        </a:rPr>
                        <a:t>Tarsis</a:t>
                      </a:r>
                      <a:endParaRPr kumimoji="0" lang="en-US" sz="1100" b="1" i="0" u="none" strike="noStrike" cap="none" normalizeH="0" baseline="0" dirty="0" smtClean="0">
                        <a:ln>
                          <a:noFill/>
                        </a:ln>
                        <a:solidFill>
                          <a:schemeClr val="tx1"/>
                        </a:solidFill>
                        <a:effectLst/>
                        <a:latin typeface="Arial" charset="0"/>
                        <a:cs typeface="Arial" charset="0"/>
                      </a:endParaRP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Technology</a:t>
                      </a: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Joe </a:t>
                      </a:r>
                      <a:r>
                        <a:rPr kumimoji="0" lang="en-US" sz="1100" b="1" i="0" u="none" strike="noStrike" cap="none" normalizeH="0" baseline="0" dirty="0" err="1" smtClean="0">
                          <a:ln>
                            <a:noFill/>
                          </a:ln>
                          <a:solidFill>
                            <a:schemeClr val="tx1"/>
                          </a:solidFill>
                          <a:effectLst/>
                          <a:latin typeface="Arial" charset="0"/>
                          <a:cs typeface="Arial" charset="0"/>
                        </a:rPr>
                        <a:t>Bruzzese</a:t>
                      </a:r>
                      <a:endParaRPr kumimoji="0" lang="en-US" sz="1100" b="1" i="0" u="none" strike="noStrike" cap="none" normalizeH="0" baseline="0" dirty="0" smtClean="0">
                        <a:ln>
                          <a:noFill/>
                        </a:ln>
                        <a:solidFill>
                          <a:schemeClr val="tx1"/>
                        </a:solidFill>
                        <a:effectLst/>
                        <a:latin typeface="Arial" charset="0"/>
                        <a:cs typeface="Arial" charset="0"/>
                      </a:endParaRP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Technology</a:t>
                      </a: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Ben McDonald</a:t>
                      </a: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Core</a:t>
                      </a:r>
                      <a:r>
                        <a:rPr lang="en-US" sz="1100" baseline="0" dirty="0" smtClean="0">
                          <a:solidFill>
                            <a:schemeClr val="tx1"/>
                          </a:solidFill>
                        </a:rPr>
                        <a:t> Product</a:t>
                      </a:r>
                      <a:endParaRPr lang="en-US" sz="1100" dirty="0" smtClean="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Jose </a:t>
                      </a:r>
                      <a:r>
                        <a:rPr kumimoji="0" lang="en-US" sz="1100" b="1" i="0" u="none" strike="noStrike" cap="none" normalizeH="0" baseline="0" dirty="0" err="1" smtClean="0">
                          <a:ln>
                            <a:noFill/>
                          </a:ln>
                          <a:solidFill>
                            <a:schemeClr val="tx1"/>
                          </a:solidFill>
                          <a:effectLst/>
                          <a:latin typeface="Arial" charset="0"/>
                          <a:cs typeface="Arial" charset="0"/>
                        </a:rPr>
                        <a:t>Ribas</a:t>
                      </a:r>
                      <a:endParaRPr kumimoji="0" lang="en-US" sz="1100" b="1" i="0" u="none" strike="noStrike" cap="none" normalizeH="0" baseline="0" dirty="0" smtClean="0">
                        <a:ln>
                          <a:noFill/>
                        </a:ln>
                        <a:solidFill>
                          <a:schemeClr val="tx1"/>
                        </a:solidFill>
                        <a:effectLst/>
                        <a:latin typeface="Arial" charset="0"/>
                        <a:cs typeface="Arial" charset="0"/>
                      </a:endParaRP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Core</a:t>
                      </a:r>
                      <a:r>
                        <a:rPr lang="en-US" sz="1100" baseline="0" dirty="0" smtClean="0">
                          <a:solidFill>
                            <a:schemeClr val="tx1"/>
                          </a:solidFill>
                        </a:rPr>
                        <a:t> Product</a:t>
                      </a:r>
                      <a:endParaRPr lang="en-US" sz="1100" dirty="0" smtClean="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Karim </a:t>
                      </a:r>
                      <a:r>
                        <a:rPr kumimoji="0" lang="en-US" sz="1100" b="1" i="0" u="none" strike="noStrike" cap="none" normalizeH="0" baseline="0" dirty="0" err="1" smtClean="0">
                          <a:ln>
                            <a:noFill/>
                          </a:ln>
                          <a:solidFill>
                            <a:schemeClr val="tx1"/>
                          </a:solidFill>
                          <a:effectLst/>
                          <a:latin typeface="Arial" charset="0"/>
                          <a:cs typeface="Arial" charset="0"/>
                        </a:rPr>
                        <a:t>Faraj</a:t>
                      </a:r>
                      <a:endParaRPr kumimoji="0" lang="en-US" sz="1100" b="1" i="0" u="none" strike="noStrike" cap="none" normalizeH="0" baseline="0" dirty="0" smtClean="0">
                        <a:ln>
                          <a:noFill/>
                        </a:ln>
                        <a:solidFill>
                          <a:schemeClr val="tx1"/>
                        </a:solidFill>
                        <a:effectLst/>
                        <a:latin typeface="Arial" charset="0"/>
                        <a:cs typeface="Arial" charset="0"/>
                      </a:endParaRP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Core</a:t>
                      </a:r>
                      <a:r>
                        <a:rPr lang="en-US" sz="1100" baseline="0" dirty="0" smtClean="0">
                          <a:solidFill>
                            <a:schemeClr val="tx1"/>
                          </a:solidFill>
                        </a:rPr>
                        <a:t> Product - </a:t>
                      </a:r>
                      <a:r>
                        <a:rPr lang="en-US" sz="1100" baseline="0" dirty="0" err="1" smtClean="0">
                          <a:solidFill>
                            <a:schemeClr val="tx1"/>
                          </a:solidFill>
                        </a:rPr>
                        <a:t>Derivs</a:t>
                      </a:r>
                      <a:endParaRPr lang="en-US" sz="1100" dirty="0" smtClean="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Denis Duchene</a:t>
                      </a: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Core</a:t>
                      </a:r>
                      <a:r>
                        <a:rPr lang="en-US" sz="1100" baseline="0" dirty="0" smtClean="0">
                          <a:solidFill>
                            <a:schemeClr val="tx1"/>
                          </a:solidFill>
                        </a:rPr>
                        <a:t> Product - </a:t>
                      </a:r>
                      <a:r>
                        <a:rPr lang="en-US" sz="1100" baseline="0" dirty="0" err="1" smtClean="0">
                          <a:solidFill>
                            <a:schemeClr val="tx1"/>
                          </a:solidFill>
                        </a:rPr>
                        <a:t>Derivs</a:t>
                      </a:r>
                      <a:endParaRPr lang="en-US" sz="1100" dirty="0" smtClean="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err="1" smtClean="0">
                          <a:ln>
                            <a:noFill/>
                          </a:ln>
                          <a:solidFill>
                            <a:schemeClr val="tx1"/>
                          </a:solidFill>
                          <a:effectLst/>
                          <a:latin typeface="Arial" charset="0"/>
                          <a:cs typeface="Arial" charset="0"/>
                        </a:rPr>
                        <a:t>Harald</a:t>
                      </a:r>
                      <a:r>
                        <a:rPr kumimoji="0" lang="en-US" sz="1100" b="1" i="0" u="none" strike="noStrike" cap="none" normalizeH="0" baseline="0" dirty="0" smtClean="0">
                          <a:ln>
                            <a:noFill/>
                          </a:ln>
                          <a:solidFill>
                            <a:schemeClr val="tx1"/>
                          </a:solidFill>
                          <a:effectLst/>
                          <a:latin typeface="Arial" charset="0"/>
                          <a:cs typeface="Arial" charset="0"/>
                        </a:rPr>
                        <a:t> Collet</a:t>
                      </a: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err="1" smtClean="0">
                          <a:solidFill>
                            <a:schemeClr val="tx1"/>
                          </a:solidFill>
                        </a:rPr>
                        <a:t>BVault</a:t>
                      </a:r>
                      <a:endParaRPr lang="en-US" sz="1100" dirty="0" smtClean="0">
                        <a:solidFill>
                          <a:schemeClr val="tx1"/>
                        </a:solidFill>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err="1" smtClean="0">
                          <a:ln>
                            <a:noFill/>
                          </a:ln>
                          <a:solidFill>
                            <a:schemeClr val="tx1"/>
                          </a:solidFill>
                          <a:effectLst/>
                          <a:latin typeface="Arial" charset="0"/>
                          <a:cs typeface="Arial" charset="0"/>
                        </a:rPr>
                        <a:t>Maor</a:t>
                      </a:r>
                      <a:r>
                        <a:rPr kumimoji="0" lang="en-US" sz="1100" b="1" i="0" u="none" strike="noStrike" cap="none" normalizeH="0" baseline="0" dirty="0" smtClean="0">
                          <a:ln>
                            <a:noFill/>
                          </a:ln>
                          <a:solidFill>
                            <a:schemeClr val="tx1"/>
                          </a:solidFill>
                          <a:effectLst/>
                          <a:latin typeface="Arial" charset="0"/>
                          <a:cs typeface="Arial" charset="0"/>
                        </a:rPr>
                        <a:t> </a:t>
                      </a:r>
                      <a:r>
                        <a:rPr kumimoji="0" lang="en-US" sz="1100" b="1" i="0" u="none" strike="noStrike" cap="none" normalizeH="0" baseline="0" dirty="0" err="1" smtClean="0">
                          <a:ln>
                            <a:noFill/>
                          </a:ln>
                          <a:solidFill>
                            <a:schemeClr val="tx1"/>
                          </a:solidFill>
                          <a:effectLst/>
                          <a:latin typeface="Arial" charset="0"/>
                          <a:cs typeface="Arial" charset="0"/>
                        </a:rPr>
                        <a:t>Avidor</a:t>
                      </a:r>
                      <a:endParaRPr kumimoji="0" lang="en-US" sz="1100" b="1" i="0" u="none" strike="noStrike" cap="none" normalizeH="0" baseline="0" dirty="0" smtClean="0">
                        <a:ln>
                          <a:noFill/>
                        </a:ln>
                        <a:solidFill>
                          <a:schemeClr val="tx1"/>
                        </a:solidFill>
                        <a:effectLst/>
                        <a:latin typeface="Arial" charset="0"/>
                        <a:cs typeface="Arial" charset="0"/>
                      </a:endParaRP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R&amp;D Analytics (MARS)</a:t>
                      </a: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280035">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100" b="1" i="0" u="none" strike="noStrike" cap="none" normalizeH="0" baseline="0" dirty="0" smtClean="0">
                          <a:ln>
                            <a:noFill/>
                          </a:ln>
                          <a:solidFill>
                            <a:schemeClr val="tx1"/>
                          </a:solidFill>
                          <a:effectLst/>
                          <a:latin typeface="Arial" charset="0"/>
                          <a:cs typeface="Arial" charset="0"/>
                        </a:rPr>
                        <a:t>Bill </a:t>
                      </a:r>
                      <a:r>
                        <a:rPr kumimoji="0" lang="en-US" sz="1100" b="1" i="0" u="none" strike="noStrike" cap="none" normalizeH="0" baseline="0" dirty="0" err="1" smtClean="0">
                          <a:ln>
                            <a:noFill/>
                          </a:ln>
                          <a:solidFill>
                            <a:schemeClr val="tx1"/>
                          </a:solidFill>
                          <a:effectLst/>
                          <a:latin typeface="Arial" charset="0"/>
                          <a:cs typeface="Arial" charset="0"/>
                        </a:rPr>
                        <a:t>Scheurer</a:t>
                      </a:r>
                      <a:endParaRPr kumimoji="0" lang="en-US" sz="1100" b="1" i="0" u="none" strike="noStrike" cap="none" normalizeH="0" baseline="0" dirty="0" smtClean="0">
                        <a:ln>
                          <a:noFill/>
                        </a:ln>
                        <a:solidFill>
                          <a:schemeClr val="tx1"/>
                        </a:solidFill>
                        <a:effectLst/>
                        <a:latin typeface="Arial" charset="0"/>
                        <a:cs typeface="Arial" charset="0"/>
                      </a:endParaRP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AIM Business Dev</a:t>
                      </a: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bl>
          </a:graphicData>
        </a:graphic>
      </p:graphicFrame>
      <p:sp>
        <p:nvSpPr>
          <p:cNvPr id="7" name="Rectangle 6"/>
          <p:cNvSpPr/>
          <p:nvPr/>
        </p:nvSpPr>
        <p:spPr>
          <a:xfrm>
            <a:off x="1594270" y="2967335"/>
            <a:ext cx="5955477" cy="923330"/>
          </a:xfrm>
          <a:prstGeom prst="rect">
            <a:avLst/>
          </a:prstGeom>
          <a:noFill/>
        </p:spPr>
        <p:txBody>
          <a:bodyPr wrap="none" lIns="91440" tIns="45720" rIns="91440" bIns="45720">
            <a:spAutoFit/>
            <a:scene3d>
              <a:camera prst="orthographicFront"/>
              <a:lightRig rig="flat" dir="tl"/>
            </a:scene3d>
            <a:sp3d contourW="19050" prstMaterial="clear">
              <a:bevelT w="50800" h="50800"/>
              <a:contourClr>
                <a:schemeClr val="accent5">
                  <a:tint val="70000"/>
                  <a:satMod val="180000"/>
                  <a:alpha val="70000"/>
                </a:schemeClr>
              </a:contourClr>
            </a:sp3d>
          </a:bodyPr>
          <a:lstStyle/>
          <a:p>
            <a:pPr algn="ctr"/>
            <a:r>
              <a:rPr lang="en-US" sz="5400" b="1" dirty="0" smtClean="0">
                <a:ln/>
                <a:solidFill>
                  <a:schemeClr val="accent5">
                    <a:tint val="50000"/>
                    <a:satMod val="180000"/>
                  </a:schemeClr>
                </a:solidFill>
              </a:rPr>
              <a:t>Cut this list down</a:t>
            </a:r>
            <a:endParaRPr lang="en-US" sz="5400" b="1" cap="none" spc="0" dirty="0">
              <a:ln/>
              <a:solidFill>
                <a:schemeClr val="accent5">
                  <a:tint val="50000"/>
                  <a:satMod val="180000"/>
                </a:schemeClr>
              </a:solidFill>
              <a:effectLst/>
            </a:endParaRPr>
          </a:p>
        </p:txBody>
      </p:sp>
    </p:spTree>
    <p:extLst>
      <p:ext uri="{BB962C8B-B14F-4D97-AF65-F5344CB8AC3E}">
        <p14:creationId xmlns:p14="http://schemas.microsoft.com/office/powerpoint/2010/main" val="14225589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383C57C-80DA-45D5-BFE5-7583B8192761}" type="slidenum">
              <a:rPr lang="en-US" smtClean="0"/>
              <a:pPr/>
              <a:t>6</a:t>
            </a:fld>
            <a:endParaRPr lang="en-US"/>
          </a:p>
        </p:txBody>
      </p:sp>
      <p:sp>
        <p:nvSpPr>
          <p:cNvPr id="3" name="Title 1"/>
          <p:cNvSpPr txBox="1">
            <a:spLocks/>
          </p:cNvSpPr>
          <p:nvPr/>
        </p:nvSpPr>
        <p:spPr>
          <a:xfrm>
            <a:off x="457200" y="317500"/>
            <a:ext cx="7677150" cy="965200"/>
          </a:xfrm>
          <a:prstGeom prst="rect">
            <a:avLst/>
          </a:prstGeom>
        </p:spPr>
        <p:txBody>
          <a:bodyPr/>
          <a:lstStyle>
            <a:lvl1pPr algn="l" defTabSz="914400" rtl="0" eaLnBrk="1" latinLnBrk="0" hangingPunct="1">
              <a:lnSpc>
                <a:spcPts val="2700"/>
              </a:lnSpc>
              <a:spcBef>
                <a:spcPct val="0"/>
              </a:spcBef>
              <a:buNone/>
              <a:defRPr lang="en-US" sz="3000" b="1" i="0" kern="1200" cap="all" dirty="0" smtClean="0">
                <a:solidFill>
                  <a:schemeClr val="tx1"/>
                </a:solidFill>
                <a:latin typeface="Arial Bold"/>
                <a:ea typeface="+mj-ea"/>
                <a:cs typeface="Arial Bold"/>
              </a:defRPr>
            </a:lvl1pPr>
          </a:lstStyle>
          <a:p>
            <a:r>
              <a:rPr lang="en-US" dirty="0" smtClean="0"/>
              <a:t>Communication/governance </a:t>
            </a:r>
            <a:r>
              <a:rPr lang="en-US" dirty="0" smtClean="0">
                <a:solidFill>
                  <a:srgbClr val="00B0F0"/>
                </a:solidFill>
              </a:rPr>
              <a:t>plan</a:t>
            </a:r>
            <a:endParaRPr lang="en-US" dirty="0">
              <a:solidFill>
                <a:srgbClr val="00B0F0"/>
              </a:solidFill>
            </a:endParaRPr>
          </a:p>
        </p:txBody>
      </p:sp>
      <p:graphicFrame>
        <p:nvGraphicFramePr>
          <p:cNvPr id="4" name="Group 984"/>
          <p:cNvGraphicFramePr>
            <a:graphicFrameLocks noGrp="1"/>
          </p:cNvGraphicFramePr>
          <p:nvPr>
            <p:extLst>
              <p:ext uri="{D42A27DB-BD31-4B8C-83A1-F6EECF244321}">
                <p14:modId xmlns:p14="http://schemas.microsoft.com/office/powerpoint/2010/main" val="677918747"/>
              </p:ext>
            </p:extLst>
          </p:nvPr>
        </p:nvGraphicFramePr>
        <p:xfrm>
          <a:off x="251455" y="1172667"/>
          <a:ext cx="8218966" cy="4809034"/>
        </p:xfrm>
        <a:graphic>
          <a:graphicData uri="http://schemas.openxmlformats.org/drawingml/2006/table">
            <a:tbl>
              <a:tblPr/>
              <a:tblGrid>
                <a:gridCol w="1233375"/>
                <a:gridCol w="1903228"/>
                <a:gridCol w="935080"/>
                <a:gridCol w="1339227"/>
                <a:gridCol w="1291139"/>
                <a:gridCol w="1516917"/>
              </a:tblGrid>
              <a:tr h="521006">
                <a:tc>
                  <a:txBody>
                    <a:bodyPr/>
                    <a:lstStyle/>
                    <a:p>
                      <a:pPr marL="0" marR="0" lvl="0" indent="0" algn="l" defTabSz="895350" rtl="0" eaLnBrk="0" fontAlgn="base" latinLnBrk="0" hangingPunct="0">
                        <a:lnSpc>
                          <a:spcPct val="100000"/>
                        </a:lnSpc>
                        <a:spcBef>
                          <a:spcPct val="0"/>
                        </a:spcBef>
                        <a:spcAft>
                          <a:spcPct val="0"/>
                        </a:spcAft>
                        <a:buClrTx/>
                        <a:buSzPct val="120000"/>
                        <a:buFontTx/>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3294" marR="93294" marT="46643" marB="46643" horzOverflow="overflow">
                    <a:lnL w="12700" cap="flat" cmpd="sng" algn="ctr">
                      <a:no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400" b="1" i="0" u="none" strike="noStrike" cap="none" normalizeH="0" baseline="0" dirty="0" smtClean="0">
                          <a:ln>
                            <a:noFill/>
                          </a:ln>
                          <a:solidFill>
                            <a:srgbClr val="606060"/>
                          </a:solidFill>
                          <a:effectLst/>
                          <a:latin typeface="Arial" charset="0"/>
                          <a:cs typeface="Arial" charset="0"/>
                        </a:rPr>
                        <a:t>OBJECTIVE OF </a:t>
                      </a:r>
                      <a:br>
                        <a:rPr kumimoji="0" lang="en-US" sz="1400" b="1" i="0" u="none" strike="noStrike" cap="none" normalizeH="0" baseline="0" dirty="0" smtClean="0">
                          <a:ln>
                            <a:noFill/>
                          </a:ln>
                          <a:solidFill>
                            <a:srgbClr val="606060"/>
                          </a:solidFill>
                          <a:effectLst/>
                          <a:latin typeface="Arial" charset="0"/>
                          <a:cs typeface="Arial" charset="0"/>
                        </a:rPr>
                      </a:br>
                      <a:r>
                        <a:rPr kumimoji="0" lang="en-US" sz="1400" b="1" i="0" u="none" strike="noStrike" cap="none" normalizeH="0" baseline="0" dirty="0" smtClean="0">
                          <a:ln>
                            <a:noFill/>
                          </a:ln>
                          <a:solidFill>
                            <a:srgbClr val="606060"/>
                          </a:solidFill>
                          <a:effectLst/>
                          <a:latin typeface="Arial" charset="0"/>
                          <a:cs typeface="Arial" charset="0"/>
                        </a:rPr>
                        <a:t>COMMUNICATION</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400" b="1" i="0" u="none" strike="noStrike" cap="none" normalizeH="0" baseline="0" dirty="0" smtClean="0">
                          <a:ln>
                            <a:noFill/>
                          </a:ln>
                          <a:solidFill>
                            <a:srgbClr val="606060"/>
                          </a:solidFill>
                          <a:effectLst/>
                          <a:latin typeface="Arial" charset="0"/>
                          <a:cs typeface="Arial" charset="0"/>
                        </a:rPr>
                        <a:t>MEDIUM</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400" b="1" i="0" u="none" strike="noStrike" cap="none" normalizeH="0" baseline="0" dirty="0" smtClean="0">
                          <a:ln>
                            <a:noFill/>
                          </a:ln>
                          <a:solidFill>
                            <a:srgbClr val="606060"/>
                          </a:solidFill>
                          <a:effectLst/>
                          <a:latin typeface="Arial" charset="0"/>
                          <a:cs typeface="Arial" charset="0"/>
                        </a:rPr>
                        <a:t>FREQUENCY</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400" b="1" i="0" u="none" strike="noStrike" cap="none" normalizeH="0" baseline="0" dirty="0" smtClean="0">
                          <a:ln>
                            <a:noFill/>
                          </a:ln>
                          <a:solidFill>
                            <a:srgbClr val="606060"/>
                          </a:solidFill>
                          <a:effectLst/>
                          <a:latin typeface="Arial" charset="0"/>
                          <a:cs typeface="Arial" charset="0"/>
                        </a:rPr>
                        <a:t>AUDIENCE</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400" b="1" i="0" u="none" strike="noStrike" cap="none" normalizeH="0" baseline="0" dirty="0" smtClean="0">
                          <a:ln>
                            <a:noFill/>
                          </a:ln>
                          <a:solidFill>
                            <a:srgbClr val="606060"/>
                          </a:solidFill>
                          <a:effectLst/>
                          <a:latin typeface="Arial" charset="0"/>
                          <a:cs typeface="Arial" charset="0"/>
                        </a:rPr>
                        <a:t>DELIVERABLE </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767733">
                <a:tc>
                  <a:txBody>
                    <a:bodyPr/>
                    <a:lstStyle/>
                    <a:p>
                      <a:pPr marL="0" marR="0" lvl="0" indent="0" algn="l" defTabSz="895350" rtl="0" eaLnBrk="1" fontAlgn="base" latinLnBrk="0" hangingPunct="1">
                        <a:lnSpc>
                          <a:spcPts val="1480"/>
                        </a:lnSpc>
                        <a:spcBef>
                          <a:spcPct val="0"/>
                        </a:spcBef>
                        <a:spcAft>
                          <a:spcPct val="0"/>
                        </a:spcAft>
                        <a:buClrTx/>
                        <a:buSzPct val="120000"/>
                        <a:buFontTx/>
                        <a:buNone/>
                        <a:tabLst/>
                      </a:pPr>
                      <a:r>
                        <a:rPr kumimoji="0" lang="en-US" sz="1400" b="1" i="0" u="none" strike="noStrike" cap="none" normalizeH="0" baseline="0" dirty="0" smtClean="0">
                          <a:ln>
                            <a:noFill/>
                          </a:ln>
                          <a:solidFill>
                            <a:srgbClr val="00B0F0"/>
                          </a:solidFill>
                          <a:effectLst/>
                          <a:latin typeface="Arial" charset="0"/>
                          <a:cs typeface="Arial" charset="0"/>
                        </a:rPr>
                        <a:t>KICK OFF MEETING</a:t>
                      </a:r>
                      <a:endParaRPr kumimoji="0" lang="en-US" sz="1100" b="1" i="0" u="none" strike="noStrike" cap="none" normalizeH="0" baseline="0" dirty="0" smtClean="0">
                        <a:ln>
                          <a:noFill/>
                        </a:ln>
                        <a:solidFill>
                          <a:srgbClr val="00B0F0"/>
                        </a:solidFill>
                        <a:effectLst/>
                        <a:latin typeface="Arial" charset="0"/>
                        <a:cs typeface="Arial" charset="0"/>
                      </a:endParaRPr>
                    </a:p>
                  </a:txBody>
                  <a:tcPr marL="93294" marR="93294" marT="46643" marB="46643" anchor="ctr" horzOverflow="overflow">
                    <a:lnL w="12700" cap="flat" cmpd="sng" algn="ctr">
                      <a:no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lang="en-US" sz="900" dirty="0" smtClean="0">
                          <a:effectLst/>
                        </a:rPr>
                        <a:t>Introduce the project team and the project.  Review project objectives and management approach. Start</a:t>
                      </a:r>
                      <a:r>
                        <a:rPr lang="en-US" sz="900" baseline="0" dirty="0" smtClean="0">
                          <a:effectLst/>
                        </a:rPr>
                        <a:t> the work.</a:t>
                      </a:r>
                      <a:endParaRPr kumimoji="0" lang="en-US" sz="900" b="0" i="0" u="none" strike="noStrike" cap="none" normalizeH="0" baseline="0" dirty="0" smtClean="0">
                        <a:ln>
                          <a:noFill/>
                        </a:ln>
                        <a:solidFill>
                          <a:schemeClr val="tx1"/>
                        </a:solidFill>
                        <a:effectLst/>
                        <a:latin typeface="+mj-lt"/>
                        <a:cs typeface="Arial" charset="0"/>
                      </a:endParaRP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900" b="0" i="0" u="none" strike="noStrike" cap="none" normalizeH="0" baseline="0" dirty="0" smtClean="0">
                          <a:ln>
                            <a:noFill/>
                          </a:ln>
                          <a:solidFill>
                            <a:schemeClr val="tx1"/>
                          </a:solidFill>
                          <a:effectLst/>
                          <a:latin typeface="+mj-lt"/>
                          <a:cs typeface="Arial" charset="0"/>
                        </a:rPr>
                        <a:t>Face to Face</a:t>
                      </a: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900" b="0" i="0" u="none" strike="noStrike" cap="none" normalizeH="0" baseline="0" dirty="0" smtClean="0">
                          <a:ln>
                            <a:noFill/>
                          </a:ln>
                          <a:solidFill>
                            <a:schemeClr val="tx1"/>
                          </a:solidFill>
                          <a:effectLst/>
                          <a:latin typeface="+mj-lt"/>
                          <a:cs typeface="Arial" charset="0"/>
                        </a:rPr>
                        <a:t>Once </a:t>
                      </a:r>
                    </a:p>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900" b="0" i="0" u="none" strike="noStrike" cap="none" normalizeH="0" baseline="0" dirty="0" smtClean="0">
                          <a:ln>
                            <a:noFill/>
                          </a:ln>
                          <a:solidFill>
                            <a:schemeClr val="tx1"/>
                          </a:solidFill>
                          <a:effectLst/>
                          <a:latin typeface="+mj-lt"/>
                          <a:cs typeface="Arial" charset="0"/>
                        </a:rPr>
                        <a:t>12/17/2015</a:t>
                      </a: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900" dirty="0" smtClean="0">
                          <a:effectLst/>
                        </a:rPr>
                        <a:t>All Atlas</a:t>
                      </a:r>
                      <a:r>
                        <a:rPr lang="en-US" sz="900" baseline="0" dirty="0" smtClean="0">
                          <a:effectLst/>
                        </a:rPr>
                        <a:t> R&amp;D</a:t>
                      </a:r>
                      <a:br>
                        <a:rPr lang="en-US" sz="900" baseline="0" dirty="0" smtClean="0">
                          <a:effectLst/>
                        </a:rPr>
                      </a:br>
                      <a:r>
                        <a:rPr lang="en-US" sz="900" baseline="0" dirty="0" smtClean="0">
                          <a:effectLst/>
                        </a:rPr>
                        <a:t>All Atlas Business</a:t>
                      </a:r>
                      <a:endParaRPr kumimoji="0" lang="en-US" sz="900" b="0" i="0" u="none" strike="noStrike" cap="none" normalizeH="0" baseline="0" dirty="0" smtClean="0">
                        <a:ln>
                          <a:noFill/>
                        </a:ln>
                        <a:solidFill>
                          <a:schemeClr val="tx1"/>
                        </a:solidFill>
                        <a:effectLst/>
                        <a:latin typeface="+mj-lt"/>
                        <a:cs typeface="Arial" charset="0"/>
                      </a:endParaRPr>
                    </a:p>
                  </a:txBody>
                  <a:tcPr marL="93294" marR="93294" marT="46643" marB="46643" anchor="ctr"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900" dirty="0" smtClean="0">
                          <a:effectLst/>
                        </a:rPr>
                        <a:t>Workflow</a:t>
                      </a:r>
                      <a:r>
                        <a:rPr lang="en-US" sz="900" baseline="0" dirty="0" smtClean="0">
                          <a:effectLst/>
                        </a:rPr>
                        <a:t> Review</a:t>
                      </a:r>
                      <a:r>
                        <a:rPr lang="en-US" sz="900" dirty="0" smtClean="0">
                          <a:effectLst/>
                        </a:rPr>
                        <a:t/>
                      </a:r>
                      <a:br>
                        <a:rPr lang="en-US" sz="900" dirty="0" smtClean="0">
                          <a:effectLst/>
                        </a:rPr>
                      </a:br>
                      <a:r>
                        <a:rPr lang="en-US" sz="900" dirty="0" smtClean="0">
                          <a:effectLst/>
                        </a:rPr>
                        <a:t>Key Build requirements</a:t>
                      </a:r>
                      <a:br>
                        <a:rPr lang="en-US" sz="900" dirty="0" smtClean="0">
                          <a:effectLst/>
                        </a:rPr>
                      </a:br>
                      <a:r>
                        <a:rPr lang="en-US" sz="900" dirty="0" smtClean="0">
                          <a:effectLst/>
                        </a:rPr>
                        <a:t>Risk/Issue log kick-off</a:t>
                      </a:r>
                      <a:endParaRPr lang="en-US" sz="9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761319">
                <a:tc>
                  <a:txBody>
                    <a:bodyPr/>
                    <a:lstStyle/>
                    <a:p>
                      <a:pPr marL="1588" marR="0" lvl="1" indent="0" algn="l" defTabSz="895350" rtl="0" eaLnBrk="0" fontAlgn="base" latinLnBrk="0" hangingPunct="0">
                        <a:lnSpc>
                          <a:spcPts val="1480"/>
                        </a:lnSpc>
                        <a:spcBef>
                          <a:spcPct val="0"/>
                        </a:spcBef>
                        <a:spcAft>
                          <a:spcPct val="0"/>
                        </a:spcAft>
                        <a:buClr>
                          <a:srgbClr val="54B948"/>
                        </a:buClr>
                        <a:buSzPct val="80000"/>
                        <a:buFont typeface="Wingdings" pitchFamily="2" charset="2"/>
                        <a:buNone/>
                        <a:tabLst/>
                      </a:pPr>
                      <a:r>
                        <a:rPr kumimoji="0" lang="en-US" sz="1400" b="1" i="0" u="none" strike="noStrike" cap="none" normalizeH="0" baseline="0" dirty="0" smtClean="0">
                          <a:ln>
                            <a:noFill/>
                          </a:ln>
                          <a:solidFill>
                            <a:srgbClr val="00B0F0"/>
                          </a:solidFill>
                          <a:effectLst/>
                          <a:latin typeface="Arial" charset="0"/>
                          <a:cs typeface="Arial" charset="0"/>
                        </a:rPr>
                        <a:t>PROJECT TEAM METINGS</a:t>
                      </a:r>
                      <a:endParaRPr kumimoji="0" lang="en-US" sz="1100" b="1" i="0" u="none" strike="noStrike" cap="none" normalizeH="0" baseline="0" dirty="0" smtClean="0">
                        <a:ln>
                          <a:noFill/>
                        </a:ln>
                        <a:solidFill>
                          <a:srgbClr val="00B0F0"/>
                        </a:solidFill>
                        <a:effectLst/>
                        <a:latin typeface="Arial" charset="0"/>
                        <a:cs typeface="Arial" charset="0"/>
                      </a:endParaRPr>
                    </a:p>
                  </a:txBody>
                  <a:tcPr marL="93294" marR="93294" marT="46643" marB="46643" anchor="ctr" horzOverflow="overflow">
                    <a:lnL w="12700" cap="flat" cmpd="sng" algn="ctr">
                      <a:no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900" dirty="0" smtClean="0">
                          <a:effectLst/>
                        </a:rPr>
                        <a:t>Review </a:t>
                      </a:r>
                      <a:r>
                        <a:rPr lang="en-US" sz="900" dirty="0">
                          <a:effectLst/>
                        </a:rPr>
                        <a:t>status of the project with </a:t>
                      </a:r>
                      <a:r>
                        <a:rPr lang="en-US" sz="900" dirty="0" smtClean="0">
                          <a:effectLst/>
                        </a:rPr>
                        <a:t>the individual teams.</a:t>
                      </a:r>
                      <a:endParaRPr lang="en-US" sz="9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900" baseline="0" dirty="0" smtClean="0">
                          <a:effectLst/>
                        </a:rPr>
                        <a:t>SCRUM</a:t>
                      </a:r>
                      <a:endParaRPr lang="en-US" sz="9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900" dirty="0" smtClean="0">
                          <a:effectLst/>
                        </a:rPr>
                        <a:t>Daily</a:t>
                      </a:r>
                      <a:endParaRPr lang="en-US" sz="9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900" dirty="0" smtClean="0">
                          <a:effectLst/>
                        </a:rPr>
                        <a:t>     </a:t>
                      </a:r>
                      <a:br>
                        <a:rPr lang="en-US" sz="900" dirty="0" smtClean="0">
                          <a:effectLst/>
                        </a:rPr>
                      </a:br>
                      <a:r>
                        <a:rPr lang="en-US" sz="900" dirty="0" smtClean="0">
                          <a:effectLst/>
                        </a:rPr>
                        <a:t>   Project </a:t>
                      </a:r>
                      <a:r>
                        <a:rPr lang="en-US" sz="900" dirty="0">
                          <a:effectLst/>
                        </a:rPr>
                        <a:t>Team</a:t>
                      </a:r>
                      <a:endParaRPr lang="en-US" sz="9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900" dirty="0" smtClean="0">
                          <a:effectLst/>
                        </a:rPr>
                        <a:t> </a:t>
                      </a:r>
                      <a:r>
                        <a:rPr lang="en-US" sz="900" baseline="0" dirty="0" smtClean="0">
                          <a:effectLst/>
                        </a:rPr>
                        <a:t>     </a:t>
                      </a:r>
                      <a:r>
                        <a:rPr lang="en-US" sz="900" dirty="0" smtClean="0">
                          <a:effectLst/>
                        </a:rPr>
                        <a:t>Agile</a:t>
                      </a:r>
                      <a:endParaRPr lang="en-US" sz="9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852996">
                <a:tc>
                  <a:txBody>
                    <a:bodyPr/>
                    <a:lstStyle/>
                    <a:p>
                      <a:pPr marL="0" marR="0" lvl="0" indent="0" algn="l" defTabSz="895350" rtl="0" eaLnBrk="0" fontAlgn="base" latinLnBrk="0" hangingPunct="0">
                        <a:lnSpc>
                          <a:spcPts val="1480"/>
                        </a:lnSpc>
                        <a:spcBef>
                          <a:spcPct val="0"/>
                        </a:spcBef>
                        <a:spcAft>
                          <a:spcPct val="0"/>
                        </a:spcAft>
                        <a:buClrTx/>
                        <a:buSzPct val="120000"/>
                        <a:buFontTx/>
                        <a:buNone/>
                        <a:tabLst/>
                      </a:pPr>
                      <a:r>
                        <a:rPr kumimoji="0" lang="en-US" sz="1400" b="1" i="0" u="none" strike="noStrike" cap="none" normalizeH="0" baseline="0" dirty="0" smtClean="0">
                          <a:ln>
                            <a:noFill/>
                          </a:ln>
                          <a:solidFill>
                            <a:srgbClr val="00B0F0"/>
                          </a:solidFill>
                          <a:effectLst/>
                          <a:latin typeface="Arial" charset="0"/>
                          <a:cs typeface="Arial" charset="0"/>
                        </a:rPr>
                        <a:t>TECHNICAL DESIGN MEETINGS</a:t>
                      </a:r>
                      <a:endParaRPr kumimoji="0" lang="en-US" sz="1100" b="1" i="0" u="none" strike="noStrike" cap="none" normalizeH="0" baseline="0" dirty="0" smtClean="0">
                        <a:ln>
                          <a:noFill/>
                        </a:ln>
                        <a:solidFill>
                          <a:srgbClr val="00B0F0"/>
                        </a:solidFill>
                        <a:effectLst/>
                        <a:latin typeface="Arial" charset="0"/>
                        <a:cs typeface="Arial" charset="0"/>
                      </a:endParaRPr>
                    </a:p>
                  </a:txBody>
                  <a:tcPr marL="93294" marR="93294" marT="46643" marB="46643" anchor="ctr" horzOverflow="overflow">
                    <a:lnL w="12700" cap="flat" cmpd="sng" algn="ctr">
                      <a:no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900" dirty="0" smtClean="0">
                          <a:effectLst/>
                        </a:rPr>
                        <a:t>Discuss </a:t>
                      </a:r>
                      <a:r>
                        <a:rPr lang="en-US" sz="900" dirty="0">
                          <a:effectLst/>
                        </a:rPr>
                        <a:t>and develop technical design solutions for the project.</a:t>
                      </a:r>
                      <a:endParaRPr lang="en-US" sz="9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900" baseline="0" dirty="0" smtClean="0">
                          <a:effectLst/>
                        </a:rPr>
                        <a:t>  </a:t>
                      </a:r>
                      <a:r>
                        <a:rPr lang="en-US" sz="900" dirty="0" smtClean="0">
                          <a:effectLst/>
                        </a:rPr>
                        <a:t>Face </a:t>
                      </a:r>
                      <a:r>
                        <a:rPr lang="en-US" sz="900" dirty="0">
                          <a:effectLst/>
                        </a:rPr>
                        <a:t>to </a:t>
                      </a:r>
                      <a:r>
                        <a:rPr lang="en-US" sz="900" dirty="0" smtClean="0">
                          <a:effectLst/>
                        </a:rPr>
                        <a:t> Face</a:t>
                      </a:r>
                      <a:endParaRPr lang="en-US" sz="9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900" dirty="0" smtClean="0">
                          <a:effectLst/>
                        </a:rPr>
                        <a:t>   As </a:t>
                      </a:r>
                      <a:r>
                        <a:rPr lang="en-US" sz="900" dirty="0">
                          <a:effectLst/>
                        </a:rPr>
                        <a:t>Needed</a:t>
                      </a:r>
                      <a:endParaRPr lang="en-US" sz="9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pPr>
                      <a:r>
                        <a:rPr lang="en-US" sz="900" dirty="0" smtClean="0">
                          <a:effectLst/>
                        </a:rPr>
                        <a:t>Project </a:t>
                      </a:r>
                      <a:r>
                        <a:rPr lang="en-US" sz="900" dirty="0">
                          <a:effectLst/>
                        </a:rPr>
                        <a:t>Technical </a:t>
                      </a:r>
                      <a:r>
                        <a:rPr lang="en-US" sz="900" dirty="0" smtClean="0">
                          <a:effectLst/>
                        </a:rPr>
                        <a:t>Staff</a:t>
                      </a:r>
                      <a:endParaRPr lang="en-US" sz="9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 pos="160020" algn="l"/>
                        </a:tabLst>
                      </a:pPr>
                      <a:r>
                        <a:rPr lang="en-US" sz="900" baseline="0" dirty="0" smtClean="0">
                          <a:effectLst/>
                        </a:rPr>
                        <a:t>      </a:t>
                      </a:r>
                      <a:r>
                        <a:rPr lang="en-US" sz="900" dirty="0" smtClean="0">
                          <a:effectLst/>
                        </a:rPr>
                        <a:t>Agenda</a:t>
                      </a:r>
                      <a:endParaRPr lang="en-US" sz="900" dirty="0">
                        <a:effectLst/>
                      </a:endParaRPr>
                    </a:p>
                    <a:p>
                      <a:pPr marL="0" marR="0" lvl="0" indent="0" algn="ctr">
                        <a:spcBef>
                          <a:spcPts val="0"/>
                        </a:spcBef>
                        <a:spcAft>
                          <a:spcPts val="0"/>
                        </a:spcAft>
                        <a:buFont typeface="Symbol"/>
                        <a:buNone/>
                        <a:tabLst>
                          <a:tab pos="102870" algn="l"/>
                          <a:tab pos="160020" algn="l"/>
                        </a:tabLst>
                      </a:pPr>
                      <a:r>
                        <a:rPr lang="en-US" sz="900" dirty="0" smtClean="0">
                          <a:effectLst/>
                        </a:rPr>
                        <a:t>      Meeting </a:t>
                      </a:r>
                      <a:r>
                        <a:rPr lang="en-US" sz="900" dirty="0">
                          <a:effectLst/>
                        </a:rPr>
                        <a:t>Minutes</a:t>
                      </a:r>
                      <a:endParaRPr lang="en-US" sz="9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1081438">
                <a:tc>
                  <a:txBody>
                    <a:bodyPr/>
                    <a:lstStyle/>
                    <a:p>
                      <a:pPr marL="0" marR="0" lvl="0" indent="0" algn="l" defTabSz="895350" rtl="0" eaLnBrk="0" fontAlgn="base" latinLnBrk="0" hangingPunct="0">
                        <a:lnSpc>
                          <a:spcPts val="1480"/>
                        </a:lnSpc>
                        <a:spcBef>
                          <a:spcPct val="0"/>
                        </a:spcBef>
                        <a:spcAft>
                          <a:spcPct val="0"/>
                        </a:spcAft>
                        <a:buClrTx/>
                        <a:buSzPct val="120000"/>
                        <a:buFontTx/>
                        <a:buNone/>
                        <a:tabLst/>
                      </a:pPr>
                      <a:r>
                        <a:rPr kumimoji="0" lang="en-US" sz="1400" b="1" i="0" u="none" strike="noStrike" cap="none" normalizeH="0" baseline="0" dirty="0" smtClean="0">
                          <a:ln>
                            <a:noFill/>
                          </a:ln>
                          <a:solidFill>
                            <a:srgbClr val="00B0F0"/>
                          </a:solidFill>
                          <a:effectLst/>
                          <a:latin typeface="Arial" charset="0"/>
                          <a:cs typeface="Arial" charset="0"/>
                        </a:rPr>
                        <a:t>MONTHLY PROJECT STATUS MEETING</a:t>
                      </a:r>
                      <a:endParaRPr kumimoji="0" lang="en-US" sz="1100" b="1" i="0" u="none" strike="noStrike" cap="none" normalizeH="0" baseline="0" dirty="0" smtClean="0">
                        <a:ln>
                          <a:noFill/>
                        </a:ln>
                        <a:solidFill>
                          <a:srgbClr val="00B0F0"/>
                        </a:solidFill>
                        <a:effectLst/>
                        <a:latin typeface="Arial" charset="0"/>
                        <a:cs typeface="Arial" charset="0"/>
                      </a:endParaRPr>
                    </a:p>
                  </a:txBody>
                  <a:tcPr marL="93294" marR="93294" marT="46643" marB="46643" anchor="ctr" horzOverflow="overflow">
                    <a:lnL w="12700" cap="flat" cmpd="sng" algn="ctr">
                      <a:no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900" dirty="0" smtClean="0">
                          <a:effectLst/>
                        </a:rPr>
                        <a:t>Report </a:t>
                      </a:r>
                      <a:r>
                        <a:rPr lang="en-US" sz="900" dirty="0">
                          <a:effectLst/>
                        </a:rPr>
                        <a:t>on the status of the project to management.</a:t>
                      </a:r>
                      <a:endParaRPr lang="en-US" sz="9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900" baseline="0" dirty="0" smtClean="0">
                          <a:effectLst/>
                        </a:rPr>
                        <a:t>  </a:t>
                      </a:r>
                      <a:r>
                        <a:rPr lang="en-US" sz="900" dirty="0" smtClean="0">
                          <a:effectLst/>
                        </a:rPr>
                        <a:t>Face </a:t>
                      </a:r>
                      <a:r>
                        <a:rPr lang="en-US" sz="900" dirty="0">
                          <a:effectLst/>
                        </a:rPr>
                        <a:t>to Face</a:t>
                      </a:r>
                    </a:p>
                    <a:p>
                      <a:pPr marL="0" marR="0" lvl="0" indent="0" algn="ctr">
                        <a:spcBef>
                          <a:spcPts val="0"/>
                        </a:spcBef>
                        <a:spcAft>
                          <a:spcPts val="0"/>
                        </a:spcAft>
                        <a:buFont typeface="Symbol"/>
                        <a:buNone/>
                        <a:tabLst>
                          <a:tab pos="102870" algn="l"/>
                        </a:tabLst>
                      </a:pPr>
                      <a:r>
                        <a:rPr lang="en-US" sz="900" dirty="0" smtClean="0">
                          <a:effectLst/>
                        </a:rPr>
                        <a:t>  Conference</a:t>
                      </a:r>
                      <a:r>
                        <a:rPr lang="en-US" sz="900" baseline="0" dirty="0" smtClean="0">
                          <a:effectLst/>
                        </a:rPr>
                        <a:t>   3W3</a:t>
                      </a:r>
                      <a:endParaRPr lang="en-US" sz="9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900" dirty="0" smtClean="0">
                          <a:effectLst/>
                        </a:rPr>
                        <a:t>   Monthly – 2</a:t>
                      </a:r>
                      <a:r>
                        <a:rPr lang="en-US" sz="900" baseline="30000" dirty="0" smtClean="0">
                          <a:effectLst/>
                        </a:rPr>
                        <a:t>nd</a:t>
                      </a:r>
                      <a:r>
                        <a:rPr lang="en-US" sz="900" dirty="0" smtClean="0">
                          <a:effectLst/>
                        </a:rPr>
                        <a:t> Thursday of each month</a:t>
                      </a:r>
                      <a:endParaRPr lang="en-US" sz="9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Symbol"/>
                        <a:buNone/>
                        <a:tabLst>
                          <a:tab pos="102870" algn="l"/>
                        </a:tabLst>
                        <a:defRPr/>
                      </a:pPr>
                      <a:r>
                        <a:rPr lang="en-US" sz="900" dirty="0" smtClean="0">
                          <a:effectLst/>
                        </a:rPr>
                        <a:t>All Atlas</a:t>
                      </a:r>
                      <a:r>
                        <a:rPr lang="en-US" sz="900" baseline="0" dirty="0" smtClean="0">
                          <a:effectLst/>
                        </a:rPr>
                        <a:t> R&amp;D</a:t>
                      </a:r>
                      <a:br>
                        <a:rPr lang="en-US" sz="900" baseline="0" dirty="0" smtClean="0">
                          <a:effectLst/>
                        </a:rPr>
                      </a:br>
                      <a:r>
                        <a:rPr lang="en-US" sz="900" baseline="0" dirty="0" smtClean="0">
                          <a:effectLst/>
                        </a:rPr>
                        <a:t>All Atlas Business</a:t>
                      </a:r>
                      <a:endParaRPr kumimoji="0" lang="en-US" sz="900" b="0" i="0" u="none" strike="noStrike" kern="1200" cap="none" normalizeH="0" baseline="0" dirty="0" smtClean="0">
                        <a:ln>
                          <a:noFill/>
                        </a:ln>
                        <a:solidFill>
                          <a:schemeClr val="tx1"/>
                        </a:solidFill>
                        <a:effectLst/>
                        <a:latin typeface="+mn-lt"/>
                        <a:ea typeface="+mn-ea"/>
                        <a:cs typeface="Arial" charset="0"/>
                      </a:endParaRPr>
                    </a:p>
                    <a:p>
                      <a:pPr marL="0" marR="0" lvl="0" indent="0" algn="ctr">
                        <a:spcBef>
                          <a:spcPts val="0"/>
                        </a:spcBef>
                        <a:spcAft>
                          <a:spcPts val="0"/>
                        </a:spcAft>
                        <a:buFont typeface="Symbol"/>
                        <a:buNone/>
                        <a:tabLst>
                          <a:tab pos="102870" algn="l"/>
                        </a:tabLst>
                      </a:pPr>
                      <a:r>
                        <a:rPr lang="en-US" sz="900" dirty="0" smtClean="0">
                          <a:effectLst/>
                          <a:latin typeface="+mn-lt"/>
                          <a:ea typeface="+mn-ea"/>
                        </a:rPr>
                        <a:t>Open to product</a:t>
                      </a:r>
                      <a:r>
                        <a:rPr lang="en-US" sz="900" baseline="0" dirty="0" smtClean="0">
                          <a:effectLst/>
                          <a:latin typeface="+mn-lt"/>
                          <a:ea typeface="+mn-ea"/>
                        </a:rPr>
                        <a:t> stakeholders</a:t>
                      </a:r>
                      <a:endParaRPr lang="en-US" sz="9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 pos="160020" algn="l"/>
                        </a:tabLst>
                      </a:pPr>
                      <a:r>
                        <a:rPr lang="en-US" sz="900" dirty="0" smtClean="0">
                          <a:effectLst/>
                        </a:rPr>
                        <a:t>Review status</a:t>
                      </a:r>
                      <a:r>
                        <a:rPr lang="en-US" sz="900" baseline="0" dirty="0" smtClean="0">
                          <a:effectLst/>
                        </a:rPr>
                        <a:t> from the PMO Workbook</a:t>
                      </a:r>
                      <a:endParaRPr lang="en-US" sz="9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824542">
                <a:tc>
                  <a:txBody>
                    <a:bodyPr/>
                    <a:lstStyle/>
                    <a:p>
                      <a:pPr marL="0" marR="0" lvl="0" indent="0" algn="l" defTabSz="895350" rtl="0" eaLnBrk="1" fontAlgn="base" latinLnBrk="0" hangingPunct="1">
                        <a:lnSpc>
                          <a:spcPts val="1480"/>
                        </a:lnSpc>
                        <a:spcBef>
                          <a:spcPct val="0"/>
                        </a:spcBef>
                        <a:spcAft>
                          <a:spcPct val="0"/>
                        </a:spcAft>
                        <a:buClrTx/>
                        <a:buSzPct val="120000"/>
                        <a:buFontTx/>
                        <a:buNone/>
                        <a:tabLst/>
                      </a:pPr>
                      <a:r>
                        <a:rPr kumimoji="0" lang="en-US" sz="1400" b="1" i="0" u="none" strike="noStrike" cap="none" normalizeH="0" baseline="0" dirty="0" smtClean="0">
                          <a:ln>
                            <a:noFill/>
                          </a:ln>
                          <a:solidFill>
                            <a:srgbClr val="00B0F0"/>
                          </a:solidFill>
                          <a:effectLst/>
                          <a:latin typeface="Arial" charset="0"/>
                          <a:cs typeface="Arial" charset="0"/>
                        </a:rPr>
                        <a:t>PROJECT STATUS REPORTS</a:t>
                      </a:r>
                      <a:endParaRPr kumimoji="0" lang="en-US" sz="1100" b="1" i="0" u="none" strike="noStrike" cap="none" normalizeH="0" baseline="0" dirty="0" smtClean="0">
                        <a:ln>
                          <a:noFill/>
                        </a:ln>
                        <a:solidFill>
                          <a:srgbClr val="00B0F0"/>
                        </a:solidFill>
                        <a:effectLst/>
                        <a:latin typeface="Arial" charset="0"/>
                        <a:cs typeface="Arial" charset="0"/>
                      </a:endParaRPr>
                    </a:p>
                  </a:txBody>
                  <a:tcPr marL="93294" marR="93294" marT="46643" marB="46643" anchor="ctr" horzOverflow="overflow">
                    <a:lnL w="12700" cap="flat" cmpd="sng" algn="ctr">
                      <a:no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900" dirty="0" smtClean="0">
                          <a:effectLst/>
                        </a:rPr>
                        <a:t>Report </a:t>
                      </a:r>
                      <a:r>
                        <a:rPr lang="en-US" sz="900" dirty="0">
                          <a:effectLst/>
                        </a:rPr>
                        <a:t>the status of the project including activities, progress</a:t>
                      </a:r>
                      <a:r>
                        <a:rPr lang="en-US" sz="900" dirty="0" smtClean="0">
                          <a:effectLst/>
                        </a:rPr>
                        <a:t>,</a:t>
                      </a:r>
                      <a:r>
                        <a:rPr lang="en-US" sz="900" baseline="0" dirty="0" smtClean="0">
                          <a:effectLst/>
                        </a:rPr>
                        <a:t> potential concerns</a:t>
                      </a:r>
                      <a:endParaRPr lang="en-US" sz="9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900" baseline="0" dirty="0" smtClean="0">
                          <a:effectLst/>
                        </a:rPr>
                        <a:t>      </a:t>
                      </a:r>
                      <a:r>
                        <a:rPr lang="en-US" sz="900" dirty="0" smtClean="0">
                          <a:effectLst/>
                        </a:rPr>
                        <a:t>Email</a:t>
                      </a:r>
                      <a:endParaRPr lang="en-US" sz="9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algn="ctr">
                        <a:spcBef>
                          <a:spcPts val="0"/>
                        </a:spcBef>
                        <a:spcAft>
                          <a:spcPts val="0"/>
                        </a:spcAft>
                      </a:pPr>
                      <a:r>
                        <a:rPr lang="en-US" sz="900" dirty="0" smtClean="0">
                          <a:effectLst/>
                        </a:rPr>
                        <a:t> Weekly</a:t>
                      </a:r>
                      <a:endParaRPr lang="en-US" sz="9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900" dirty="0" smtClean="0">
                          <a:effectLst/>
                        </a:rPr>
                        <a:t/>
                      </a:r>
                      <a:br>
                        <a:rPr lang="en-US" sz="900" dirty="0" smtClean="0">
                          <a:effectLst/>
                        </a:rPr>
                      </a:br>
                      <a:r>
                        <a:rPr lang="en-US" sz="900" dirty="0" smtClean="0">
                          <a:effectLst/>
                        </a:rPr>
                        <a:t>    Project </a:t>
                      </a:r>
                      <a:r>
                        <a:rPr lang="en-US" sz="900" dirty="0">
                          <a:effectLst/>
                        </a:rPr>
                        <a:t>Sponsor</a:t>
                      </a:r>
                    </a:p>
                    <a:p>
                      <a:pPr marL="0" marR="0" lvl="0" indent="0" algn="ctr">
                        <a:spcBef>
                          <a:spcPts val="0"/>
                        </a:spcBef>
                        <a:spcAft>
                          <a:spcPts val="0"/>
                        </a:spcAft>
                        <a:buFont typeface="Symbol"/>
                        <a:buNone/>
                        <a:tabLst>
                          <a:tab pos="102870" algn="l"/>
                        </a:tabLst>
                      </a:pPr>
                      <a:r>
                        <a:rPr lang="en-US" sz="900" dirty="0" smtClean="0">
                          <a:effectLst/>
                        </a:rPr>
                        <a:t>    Project </a:t>
                      </a:r>
                      <a:r>
                        <a:rPr lang="en-US" sz="900" dirty="0">
                          <a:effectLst/>
                        </a:rPr>
                        <a:t>Team</a:t>
                      </a:r>
                    </a:p>
                    <a:p>
                      <a:pPr marL="0" marR="0" lvl="0" indent="0" algn="ctr">
                        <a:spcBef>
                          <a:spcPts val="0"/>
                        </a:spcBef>
                        <a:spcAft>
                          <a:spcPts val="0"/>
                        </a:spcAft>
                        <a:buFont typeface="Symbol"/>
                        <a:buNone/>
                        <a:tabLst>
                          <a:tab pos="102870" algn="l"/>
                        </a:tabLst>
                      </a:pPr>
                      <a:r>
                        <a:rPr lang="en-US" sz="900" dirty="0" smtClean="0">
                          <a:effectLst/>
                        </a:rPr>
                        <a:t>    Stakeholders</a:t>
                      </a:r>
                      <a:endParaRPr lang="en-US" sz="900" dirty="0">
                        <a:effectLst/>
                      </a:endParaRPr>
                    </a:p>
                    <a:p>
                      <a:pPr marL="0" marR="0" lvl="0" indent="0" algn="ctr">
                        <a:spcBef>
                          <a:spcPts val="0"/>
                        </a:spcBef>
                        <a:spcAft>
                          <a:spcPts val="0"/>
                        </a:spcAft>
                        <a:buFont typeface="Symbol"/>
                        <a:buNone/>
                        <a:tabLst>
                          <a:tab pos="102870" algn="l"/>
                        </a:tabLst>
                      </a:pPr>
                      <a:r>
                        <a:rPr lang="en-US" sz="900" dirty="0" smtClean="0">
                          <a:effectLst/>
                        </a:rPr>
                        <a:t>     </a:t>
                      </a:r>
                      <a:endParaRPr lang="en-US" sz="9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 pos="160020" algn="l"/>
                        </a:tabLst>
                      </a:pPr>
                      <a:r>
                        <a:rPr lang="en-US" sz="900" dirty="0" smtClean="0">
                          <a:effectLst/>
                        </a:rPr>
                        <a:t>    Project </a:t>
                      </a:r>
                      <a:r>
                        <a:rPr lang="en-US" sz="900" dirty="0">
                          <a:effectLst/>
                        </a:rPr>
                        <a:t>Status Report</a:t>
                      </a:r>
                    </a:p>
                    <a:p>
                      <a:pPr marL="0" marR="0" lvl="0" indent="0" algn="ctr">
                        <a:spcBef>
                          <a:spcPts val="0"/>
                        </a:spcBef>
                        <a:spcAft>
                          <a:spcPts val="0"/>
                        </a:spcAft>
                        <a:buFont typeface="Symbol"/>
                        <a:buNone/>
                        <a:tabLst>
                          <a:tab pos="102870" algn="l"/>
                          <a:tab pos="160020" algn="l"/>
                        </a:tabLst>
                      </a:pPr>
                      <a:r>
                        <a:rPr lang="en-US" sz="900" dirty="0" smtClean="0">
                          <a:effectLst/>
                        </a:rPr>
                        <a:t>    Project </a:t>
                      </a:r>
                      <a:r>
                        <a:rPr lang="en-US" sz="900" dirty="0">
                          <a:effectLst/>
                        </a:rPr>
                        <a:t>schedule</a:t>
                      </a:r>
                      <a:endParaRPr lang="en-US" sz="9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12095798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383C57C-80DA-45D5-BFE5-7583B8192761}" type="slidenum">
              <a:rPr lang="en-US" smtClean="0"/>
              <a:pPr/>
              <a:t>7</a:t>
            </a:fld>
            <a:endParaRPr lang="en-US"/>
          </a:p>
        </p:txBody>
      </p:sp>
      <p:graphicFrame>
        <p:nvGraphicFramePr>
          <p:cNvPr id="3" name="Diagram 2"/>
          <p:cNvGraphicFramePr/>
          <p:nvPr>
            <p:extLst>
              <p:ext uri="{D42A27DB-BD31-4B8C-83A1-F6EECF244321}">
                <p14:modId xmlns:p14="http://schemas.microsoft.com/office/powerpoint/2010/main" val="441601778"/>
              </p:ext>
            </p:extLst>
          </p:nvPr>
        </p:nvGraphicFramePr>
        <p:xfrm>
          <a:off x="63610" y="2146853"/>
          <a:ext cx="2369489" cy="12483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1"/>
          <p:cNvSpPr txBox="1">
            <a:spLocks/>
          </p:cNvSpPr>
          <p:nvPr/>
        </p:nvSpPr>
        <p:spPr>
          <a:xfrm>
            <a:off x="457200" y="317500"/>
            <a:ext cx="7677150" cy="965200"/>
          </a:xfrm>
          <a:prstGeom prst="rect">
            <a:avLst/>
          </a:prstGeom>
        </p:spPr>
        <p:txBody>
          <a:bodyPr/>
          <a:lstStyle>
            <a:lvl1pPr algn="l" defTabSz="914400" rtl="0" eaLnBrk="1" latinLnBrk="0" hangingPunct="1">
              <a:lnSpc>
                <a:spcPts val="2700"/>
              </a:lnSpc>
              <a:spcBef>
                <a:spcPct val="0"/>
              </a:spcBef>
              <a:buNone/>
              <a:defRPr lang="en-US" sz="3000" b="1" i="0" kern="1200" cap="all" dirty="0" smtClean="0">
                <a:solidFill>
                  <a:schemeClr val="tx1"/>
                </a:solidFill>
                <a:latin typeface="Arial Bold"/>
                <a:ea typeface="+mj-ea"/>
                <a:cs typeface="Arial Bold"/>
              </a:defRPr>
            </a:lvl1pPr>
          </a:lstStyle>
          <a:p>
            <a:r>
              <a:rPr lang="en-US" dirty="0" smtClean="0"/>
              <a:t>ROADMAP</a:t>
            </a:r>
            <a:endParaRPr lang="en-US" dirty="0">
              <a:solidFill>
                <a:srgbClr val="00B0F0"/>
              </a:solidFill>
            </a:endParaRPr>
          </a:p>
        </p:txBody>
      </p:sp>
      <p:sp>
        <p:nvSpPr>
          <p:cNvPr id="5" name="Rectangle 4"/>
          <p:cNvSpPr/>
          <p:nvPr/>
        </p:nvSpPr>
        <p:spPr>
          <a:xfrm>
            <a:off x="690173" y="2967335"/>
            <a:ext cx="7763664" cy="923330"/>
          </a:xfrm>
          <a:prstGeom prst="rect">
            <a:avLst/>
          </a:prstGeom>
          <a:noFill/>
        </p:spPr>
        <p:txBody>
          <a:bodyPr wrap="none" lIns="91440" tIns="45720" rIns="91440" bIns="45720">
            <a:spAutoFit/>
            <a:scene3d>
              <a:camera prst="orthographicFront"/>
              <a:lightRig rig="flat" dir="tl"/>
            </a:scene3d>
            <a:sp3d contourW="19050" prstMaterial="clear">
              <a:bevelT w="50800" h="50800"/>
              <a:contourClr>
                <a:schemeClr val="accent5">
                  <a:tint val="70000"/>
                  <a:satMod val="180000"/>
                  <a:alpha val="70000"/>
                </a:schemeClr>
              </a:contourClr>
            </a:sp3d>
          </a:bodyPr>
          <a:lstStyle/>
          <a:p>
            <a:pPr algn="ctr"/>
            <a:r>
              <a:rPr lang="en-US" sz="5400" b="1" dirty="0" smtClean="0">
                <a:ln/>
                <a:solidFill>
                  <a:schemeClr val="accent5">
                    <a:tint val="50000"/>
                    <a:satMod val="180000"/>
                  </a:schemeClr>
                </a:solidFill>
              </a:rPr>
              <a:t>Paste here from Clarity</a:t>
            </a:r>
            <a:endParaRPr lang="en-US" sz="5400" b="1" cap="none" spc="0" dirty="0">
              <a:ln/>
              <a:solidFill>
                <a:schemeClr val="accent5">
                  <a:tint val="50000"/>
                  <a:satMod val="180000"/>
                </a:schemeClr>
              </a:solidFill>
              <a:effectLst/>
            </a:endParaRPr>
          </a:p>
        </p:txBody>
      </p:sp>
    </p:spTree>
    <p:extLst>
      <p:ext uri="{BB962C8B-B14F-4D97-AF65-F5344CB8AC3E}">
        <p14:creationId xmlns:p14="http://schemas.microsoft.com/office/powerpoint/2010/main" val="288467925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rot="5400000">
            <a:off x="8697681" y="-65001"/>
            <a:ext cx="351448" cy="481450"/>
          </a:xfrm>
        </p:spPr>
        <p:txBody>
          <a:bodyPr/>
          <a:lstStyle/>
          <a:p>
            <a:fld id="{B383C57C-80DA-45D5-BFE5-7583B8192761}" type="slidenum">
              <a:rPr lang="en-US" smtClean="0"/>
              <a:pPr/>
              <a:t>8</a:t>
            </a:fld>
            <a:endParaRPr lang="en-US"/>
          </a:p>
        </p:txBody>
      </p:sp>
      <p:sp>
        <p:nvSpPr>
          <p:cNvPr id="10" name="Title 1"/>
          <p:cNvSpPr txBox="1">
            <a:spLocks/>
          </p:cNvSpPr>
          <p:nvPr/>
        </p:nvSpPr>
        <p:spPr>
          <a:xfrm>
            <a:off x="296974" y="86576"/>
            <a:ext cx="7677150" cy="965200"/>
          </a:xfrm>
          <a:prstGeom prst="rect">
            <a:avLst/>
          </a:prstGeom>
        </p:spPr>
        <p:txBody>
          <a:bodyPr vert="horz" lIns="91440" tIns="45720" rIns="91440" bIns="45720" rtlCol="0" anchor="ctr">
            <a:normAutofit/>
          </a:bodyPr>
          <a:lstStyle>
            <a:lvl1pPr algn="l" defTabSz="914400" rtl="0" eaLnBrk="1" latinLnBrk="0" hangingPunct="1">
              <a:lnSpc>
                <a:spcPts val="2700"/>
              </a:lnSpc>
              <a:spcBef>
                <a:spcPct val="0"/>
              </a:spcBef>
              <a:buNone/>
              <a:defRPr lang="en-US" sz="3000" b="1" i="0" kern="1200" cap="all" dirty="0" smtClean="0">
                <a:solidFill>
                  <a:schemeClr val="tx1"/>
                </a:solidFill>
                <a:latin typeface="Arial Bold"/>
                <a:ea typeface="+mj-ea"/>
                <a:cs typeface="Arial Bold"/>
              </a:defRPr>
            </a:lvl1pPr>
          </a:lstStyle>
          <a:p>
            <a:r>
              <a:rPr lang="en-US" dirty="0" smtClean="0"/>
              <a:t>Project </a:t>
            </a:r>
            <a:r>
              <a:rPr lang="en-US" dirty="0" smtClean="0">
                <a:solidFill>
                  <a:srgbClr val="00B0F0"/>
                </a:solidFill>
              </a:rPr>
              <a:t>status</a:t>
            </a:r>
            <a:endParaRPr lang="en-US" dirty="0">
              <a:solidFill>
                <a:srgbClr val="00B0F0"/>
              </a:solidFill>
            </a:endParaRPr>
          </a:p>
        </p:txBody>
      </p:sp>
      <p:sp>
        <p:nvSpPr>
          <p:cNvPr id="11" name="Slide Number Placeholder 2"/>
          <p:cNvSpPr txBox="1">
            <a:spLocks/>
          </p:cNvSpPr>
          <p:nvPr/>
        </p:nvSpPr>
        <p:spPr>
          <a:xfrm rot="5400000">
            <a:off x="8697681" y="-65001"/>
            <a:ext cx="351448" cy="481450"/>
          </a:xfrm>
          <a:prstGeom prst="rect">
            <a:avLst/>
          </a:prstGeom>
        </p:spPr>
        <p:txBody>
          <a:bodyPr vert="vert270" lIns="91440" tIns="45720" rIns="91440" bIns="45720" rtlCol="0" anchor="ctr"/>
          <a:lstStyle>
            <a:defPPr>
              <a:defRPr lang="en-US"/>
            </a:defPPr>
            <a:lvl1pPr marL="0" algn="ctr" defTabSz="914400" rtl="0" eaLnBrk="1" latinLnBrk="0" hangingPunct="1">
              <a:defRPr lang="en-US" sz="2000" b="1" kern="1200" smtClean="0">
                <a:solidFill>
                  <a:srgbClr val="606060"/>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83C57C-80DA-45D5-BFE5-7583B8192761}" type="slidenum">
              <a:rPr lang="en-US" smtClean="0"/>
              <a:pPr/>
              <a:t>8</a:t>
            </a:fld>
            <a:endParaRPr lang="en-US" dirty="0"/>
          </a:p>
        </p:txBody>
      </p:sp>
      <p:graphicFrame>
        <p:nvGraphicFramePr>
          <p:cNvPr id="17" name="Table 16"/>
          <p:cNvGraphicFramePr>
            <a:graphicFrameLocks noGrp="1"/>
          </p:cNvGraphicFramePr>
          <p:nvPr>
            <p:extLst>
              <p:ext uri="{D42A27DB-BD31-4B8C-83A1-F6EECF244321}">
                <p14:modId xmlns:p14="http://schemas.microsoft.com/office/powerpoint/2010/main" val="3114998751"/>
              </p:ext>
            </p:extLst>
          </p:nvPr>
        </p:nvGraphicFramePr>
        <p:xfrm>
          <a:off x="330528" y="974071"/>
          <a:ext cx="6559003" cy="304800"/>
        </p:xfrm>
        <a:graphic>
          <a:graphicData uri="http://schemas.openxmlformats.org/drawingml/2006/table">
            <a:tbl>
              <a:tblPr firstRow="1" bandRow="1">
                <a:tableStyleId>{5C22544A-7EE6-4342-B048-85BDC9FD1C3A}</a:tableStyleId>
              </a:tblPr>
              <a:tblGrid>
                <a:gridCol w="6559003"/>
              </a:tblGrid>
              <a:tr h="227408">
                <a:tc>
                  <a:txBody>
                    <a:bodyPr/>
                    <a:lstStyle/>
                    <a:p>
                      <a:r>
                        <a:rPr lang="en-US" sz="1400" dirty="0" smtClean="0"/>
                        <a:t>PROJECT</a:t>
                      </a:r>
                      <a:r>
                        <a:rPr lang="en-US" sz="1400" baseline="0" dirty="0" smtClean="0"/>
                        <a:t> UPDATE</a:t>
                      </a:r>
                      <a:endParaRPr lang="en-US" sz="1400" dirty="0"/>
                    </a:p>
                  </a:txBody>
                  <a:tcPr>
                    <a:solidFill>
                      <a:srgbClr val="00B0F0"/>
                    </a:solidFill>
                  </a:tcPr>
                </a:tc>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1331114285"/>
              </p:ext>
            </p:extLst>
          </p:nvPr>
        </p:nvGraphicFramePr>
        <p:xfrm>
          <a:off x="340242" y="1956940"/>
          <a:ext cx="2985743" cy="304800"/>
        </p:xfrm>
        <a:graphic>
          <a:graphicData uri="http://schemas.openxmlformats.org/drawingml/2006/table">
            <a:tbl>
              <a:tblPr firstRow="1" bandRow="1">
                <a:tableStyleId>{5C22544A-7EE6-4342-B048-85BDC9FD1C3A}</a:tableStyleId>
              </a:tblPr>
              <a:tblGrid>
                <a:gridCol w="2985743"/>
              </a:tblGrid>
              <a:tr h="273030">
                <a:tc>
                  <a:txBody>
                    <a:bodyPr/>
                    <a:lstStyle/>
                    <a:p>
                      <a:r>
                        <a:rPr lang="en-US" sz="1400" dirty="0" smtClean="0"/>
                        <a:t>KEY</a:t>
                      </a:r>
                      <a:r>
                        <a:rPr lang="en-US" sz="1400" baseline="0" dirty="0" smtClean="0"/>
                        <a:t> ACCOMPLISHMENTS</a:t>
                      </a:r>
                      <a:endParaRPr lang="en-US" sz="1400" dirty="0"/>
                    </a:p>
                  </a:txBody>
                  <a:tcPr>
                    <a:solidFill>
                      <a:srgbClr val="00B0F0"/>
                    </a:solidFill>
                  </a:tcPr>
                </a:tc>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1353880848"/>
              </p:ext>
            </p:extLst>
          </p:nvPr>
        </p:nvGraphicFramePr>
        <p:xfrm>
          <a:off x="376110" y="2822720"/>
          <a:ext cx="8043989" cy="304800"/>
        </p:xfrm>
        <a:graphic>
          <a:graphicData uri="http://schemas.openxmlformats.org/drawingml/2006/table">
            <a:tbl>
              <a:tblPr firstRow="1" bandRow="1">
                <a:tableStyleId>{5C22544A-7EE6-4342-B048-85BDC9FD1C3A}</a:tableStyleId>
              </a:tblPr>
              <a:tblGrid>
                <a:gridCol w="8043989"/>
              </a:tblGrid>
              <a:tr h="254654">
                <a:tc>
                  <a:txBody>
                    <a:bodyPr/>
                    <a:lstStyle/>
                    <a:p>
                      <a:r>
                        <a:rPr lang="en-US" sz="1400" i="0" dirty="0" smtClean="0"/>
                        <a:t>ISSUES &amp; RISKS</a:t>
                      </a:r>
                      <a:endParaRPr lang="en-US" sz="1400" i="0" dirty="0"/>
                    </a:p>
                  </a:txBody>
                  <a:tcPr>
                    <a:solidFill>
                      <a:srgbClr val="00B0F0"/>
                    </a:solidFill>
                  </a:tcPr>
                </a:tc>
              </a:tr>
            </a:tbl>
          </a:graphicData>
        </a:graphic>
      </p:graphicFrame>
      <p:graphicFrame>
        <p:nvGraphicFramePr>
          <p:cNvPr id="24" name="Group 984"/>
          <p:cNvGraphicFramePr>
            <a:graphicFrameLocks noGrp="1"/>
          </p:cNvGraphicFramePr>
          <p:nvPr>
            <p:extLst>
              <p:ext uri="{D42A27DB-BD31-4B8C-83A1-F6EECF244321}">
                <p14:modId xmlns:p14="http://schemas.microsoft.com/office/powerpoint/2010/main" val="3585487361"/>
              </p:ext>
            </p:extLst>
          </p:nvPr>
        </p:nvGraphicFramePr>
        <p:xfrm>
          <a:off x="397462" y="3200821"/>
          <a:ext cx="8034461" cy="3116050"/>
        </p:xfrm>
        <a:graphic>
          <a:graphicData uri="http://schemas.openxmlformats.org/drawingml/2006/table">
            <a:tbl>
              <a:tblPr/>
              <a:tblGrid>
                <a:gridCol w="1117013"/>
                <a:gridCol w="971550"/>
                <a:gridCol w="4050676"/>
                <a:gridCol w="795839"/>
                <a:gridCol w="1099383"/>
              </a:tblGrid>
              <a:tr h="265173">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200" b="1" i="0" u="none" strike="noStrike" cap="none" normalizeH="0" baseline="0" dirty="0" smtClean="0">
                          <a:ln>
                            <a:noFill/>
                          </a:ln>
                          <a:solidFill>
                            <a:srgbClr val="606060"/>
                          </a:solidFill>
                          <a:effectLst/>
                          <a:latin typeface="Arial" charset="0"/>
                          <a:cs typeface="Arial" charset="0"/>
                        </a:rPr>
                        <a:t>Issue/Risk</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defRPr/>
                      </a:pPr>
                      <a:r>
                        <a:rPr kumimoji="0" lang="en-US" sz="1200" b="1" i="0" u="none" strike="noStrike" cap="none" normalizeH="0" baseline="0" dirty="0" smtClean="0">
                          <a:ln>
                            <a:noFill/>
                          </a:ln>
                          <a:solidFill>
                            <a:srgbClr val="606060"/>
                          </a:solidFill>
                          <a:effectLst/>
                          <a:latin typeface="Arial" charset="0"/>
                          <a:cs typeface="Arial" charset="0"/>
                        </a:rPr>
                        <a:t>Status</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200" b="1" i="0" u="none" strike="noStrike" cap="none" normalizeH="0" baseline="0" dirty="0" smtClean="0">
                          <a:ln>
                            <a:noFill/>
                          </a:ln>
                          <a:solidFill>
                            <a:srgbClr val="606060"/>
                          </a:solidFill>
                          <a:effectLst/>
                          <a:latin typeface="Arial" charset="0"/>
                          <a:cs typeface="Arial" charset="0"/>
                        </a:rPr>
                        <a:t>Detail</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defRPr/>
                      </a:pPr>
                      <a:r>
                        <a:rPr kumimoji="0" lang="en-US" sz="1200" b="1" i="0" u="none" strike="noStrike" cap="none" normalizeH="0" baseline="0" dirty="0" smtClean="0">
                          <a:ln>
                            <a:noFill/>
                          </a:ln>
                          <a:solidFill>
                            <a:srgbClr val="606060"/>
                          </a:solidFill>
                          <a:effectLst/>
                          <a:latin typeface="Arial" charset="0"/>
                          <a:cs typeface="Arial" charset="0"/>
                        </a:rPr>
                        <a:t>Impact</a:t>
                      </a:r>
                    </a:p>
                    <a:p>
                      <a:pPr marL="0" marR="0" lvl="0" indent="0" algn="ctr" defTabSz="895350" rtl="0" eaLnBrk="0" fontAlgn="base" latinLnBrk="0" hangingPunct="0">
                        <a:lnSpc>
                          <a:spcPct val="100000"/>
                        </a:lnSpc>
                        <a:spcBef>
                          <a:spcPct val="0"/>
                        </a:spcBef>
                        <a:spcAft>
                          <a:spcPct val="0"/>
                        </a:spcAft>
                        <a:buClrTx/>
                        <a:buSzPct val="120000"/>
                        <a:buFontTx/>
                        <a:buNone/>
                        <a:tabLst/>
                      </a:pPr>
                      <a:endParaRPr kumimoji="0" lang="en-US" sz="1200" b="1" i="0" u="none" strike="noStrike" cap="none" normalizeH="0" baseline="0" dirty="0" smtClean="0">
                        <a:ln>
                          <a:noFill/>
                        </a:ln>
                        <a:solidFill>
                          <a:srgbClr val="606060"/>
                        </a:solidFill>
                        <a:effectLst/>
                        <a:latin typeface="Arial" charset="0"/>
                        <a:cs typeface="Arial" charset="0"/>
                      </a:endParaRP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200" b="1" i="0" u="none" strike="noStrike" cap="none" normalizeH="0" baseline="0" dirty="0" smtClean="0">
                          <a:ln>
                            <a:noFill/>
                          </a:ln>
                          <a:solidFill>
                            <a:srgbClr val="606060"/>
                          </a:solidFill>
                          <a:effectLst/>
                          <a:latin typeface="Arial" charset="0"/>
                          <a:cs typeface="Arial" charset="0"/>
                        </a:rPr>
                        <a:t>Owner</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353142">
                <a:tc>
                  <a:txBody>
                    <a:bodyPr/>
                    <a:lstStyle/>
                    <a:p>
                      <a:pPr marL="52388" indent="0"/>
                      <a:r>
                        <a:rPr lang="en-US" sz="800" b="0" i="0" kern="1200" dirty="0" smtClean="0">
                          <a:solidFill>
                            <a:schemeClr val="tx1"/>
                          </a:solidFill>
                          <a:effectLst/>
                          <a:latin typeface="+mn-lt"/>
                          <a:ea typeface="+mn-ea"/>
                          <a:cs typeface="+mn-cs"/>
                        </a:rPr>
                        <a:t>Valuations</a:t>
                      </a: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800" dirty="0" smtClean="0">
                          <a:effectLst/>
                          <a:latin typeface="+mn-lt"/>
                          <a:ea typeface="Times New Roman"/>
                        </a:rPr>
                        <a:t>Open</a:t>
                      </a: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r>
                        <a:rPr lang="en-US" sz="800" b="0" i="0" kern="1200" dirty="0" smtClean="0">
                          <a:solidFill>
                            <a:schemeClr val="tx1"/>
                          </a:solidFill>
                          <a:effectLst/>
                          <a:latin typeface="+mn-lt"/>
                          <a:ea typeface="+mn-ea"/>
                          <a:cs typeface="+mn-cs"/>
                        </a:rPr>
                        <a:t>There could be discrepancies in financial values between downstream systems where one reads CFDs from the old system  and the other from ATLAS</a:t>
                      </a:r>
                      <a:r>
                        <a:rPr lang="en-US" sz="800" b="0" i="0" kern="1200" baseline="0" dirty="0" smtClean="0">
                          <a:solidFill>
                            <a:schemeClr val="tx1"/>
                          </a:solidFill>
                          <a:effectLst/>
                          <a:latin typeface="+mn-lt"/>
                          <a:ea typeface="+mn-ea"/>
                          <a:cs typeface="+mn-cs"/>
                        </a:rPr>
                        <a:t> e.g. </a:t>
                      </a:r>
                      <a:r>
                        <a:rPr lang="en-US" sz="800" b="0" i="0" kern="1200" dirty="0" smtClean="0">
                          <a:solidFill>
                            <a:schemeClr val="tx1"/>
                          </a:solidFill>
                          <a:effectLst/>
                          <a:latin typeface="+mn-lt"/>
                          <a:ea typeface="+mn-ea"/>
                          <a:cs typeface="+mn-cs"/>
                        </a:rPr>
                        <a:t>MAV/REC (positions) or XPT/EMSX (execution). Research upfront any discrepancies based on how we plan to calculate financials in ATLAS. If there are, we need to tell downstream product owners  and assess if they need to start integrating with ATLAS.</a:t>
                      </a:r>
                      <a:br>
                        <a:rPr lang="en-US" sz="800" b="0" i="0" kern="1200" dirty="0" smtClean="0">
                          <a:solidFill>
                            <a:schemeClr val="tx1"/>
                          </a:solidFill>
                          <a:effectLst/>
                          <a:latin typeface="+mn-lt"/>
                          <a:ea typeface="+mn-ea"/>
                          <a:cs typeface="+mn-cs"/>
                        </a:rPr>
                      </a:br>
                      <a:r>
                        <a:rPr lang="en-US" sz="800" b="0" i="0" kern="1200" dirty="0" smtClean="0">
                          <a:solidFill>
                            <a:schemeClr val="tx1"/>
                          </a:solidFill>
                          <a:effectLst/>
                          <a:latin typeface="+mn-lt"/>
                          <a:ea typeface="+mn-ea"/>
                          <a:cs typeface="+mn-cs"/>
                        </a:rPr>
                        <a:t>Proposed mitigation</a:t>
                      </a:r>
                      <a:r>
                        <a:rPr lang="en-US" sz="800" b="0" i="0" kern="1200" baseline="0" dirty="0" smtClean="0">
                          <a:solidFill>
                            <a:schemeClr val="tx1"/>
                          </a:solidFill>
                          <a:effectLst/>
                          <a:latin typeface="+mn-lt"/>
                          <a:ea typeface="+mn-ea"/>
                          <a:cs typeface="+mn-cs"/>
                        </a:rPr>
                        <a:t> - </a:t>
                      </a:r>
                      <a:r>
                        <a:rPr lang="en-US" sz="800" b="0" i="0" kern="1200" dirty="0" smtClean="0">
                          <a:solidFill>
                            <a:schemeClr val="tx1"/>
                          </a:solidFill>
                          <a:effectLst/>
                          <a:latin typeface="+mn-lt"/>
                          <a:ea typeface="+mn-ea"/>
                          <a:cs typeface="+mn-cs"/>
                        </a:rPr>
                        <a:t>Book a CFD as today (underlying + flag) and second using SWPM/CFD.</a:t>
                      </a:r>
                      <a:r>
                        <a:rPr lang="en-US" sz="800" b="0" i="0" kern="1200" baseline="0" dirty="0" smtClean="0">
                          <a:solidFill>
                            <a:schemeClr val="tx1"/>
                          </a:solidFill>
                          <a:effectLst/>
                          <a:latin typeface="+mn-lt"/>
                          <a:ea typeface="+mn-ea"/>
                          <a:cs typeface="+mn-cs"/>
                        </a:rPr>
                        <a:t> C</a:t>
                      </a:r>
                      <a:r>
                        <a:rPr lang="en-US" sz="800" b="0" i="0" kern="1200" dirty="0" smtClean="0">
                          <a:solidFill>
                            <a:schemeClr val="tx1"/>
                          </a:solidFill>
                          <a:effectLst/>
                          <a:latin typeface="+mn-lt"/>
                          <a:ea typeface="+mn-ea"/>
                          <a:cs typeface="+mn-cs"/>
                        </a:rPr>
                        <a:t>ompare diffs in financials of:</a:t>
                      </a:r>
                    </a:p>
                    <a:p>
                      <a:pPr marL="0" indent="0">
                        <a:buNone/>
                      </a:pPr>
                      <a:r>
                        <a:rPr lang="en-US" sz="800" b="0" i="0" kern="1200" dirty="0" smtClean="0">
                          <a:solidFill>
                            <a:schemeClr val="tx1"/>
                          </a:solidFill>
                          <a:effectLst/>
                          <a:latin typeface="+mn-lt"/>
                          <a:ea typeface="+mn-ea"/>
                          <a:cs typeface="+mn-cs"/>
                        </a:rPr>
                        <a:t>a) orders</a:t>
                      </a:r>
                    </a:p>
                    <a:p>
                      <a:r>
                        <a:rPr lang="en-US" sz="800" b="0" i="0" kern="1200" dirty="0" smtClean="0">
                          <a:solidFill>
                            <a:schemeClr val="tx1"/>
                          </a:solidFill>
                          <a:effectLst/>
                          <a:latin typeface="+mn-lt"/>
                          <a:ea typeface="+mn-ea"/>
                          <a:cs typeface="+mn-cs"/>
                        </a:rPr>
                        <a:t>b) trade allocations</a:t>
                      </a:r>
                    </a:p>
                    <a:p>
                      <a:r>
                        <a:rPr lang="en-US" sz="800" b="0" i="0" kern="1200" dirty="0" smtClean="0">
                          <a:solidFill>
                            <a:schemeClr val="tx1"/>
                          </a:solidFill>
                          <a:effectLst/>
                          <a:latin typeface="+mn-lt"/>
                          <a:ea typeface="+mn-ea"/>
                          <a:cs typeface="+mn-cs"/>
                        </a:rPr>
                        <a:t>c) Positions</a:t>
                      </a: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l">
                        <a:spcBef>
                          <a:spcPts val="0"/>
                        </a:spcBef>
                        <a:spcAft>
                          <a:spcPts val="0"/>
                        </a:spcAft>
                        <a:buFont typeface="Symbol"/>
                        <a:buNone/>
                        <a:tabLst>
                          <a:tab pos="102870" algn="l"/>
                        </a:tabLst>
                      </a:pPr>
                      <a:r>
                        <a:rPr lang="en-US" sz="900" dirty="0" smtClean="0">
                          <a:effectLst/>
                          <a:latin typeface="+mn-lt"/>
                          <a:ea typeface="Times New Roman"/>
                        </a:rPr>
                        <a:t>Incorrect numbers</a:t>
                      </a: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l">
                        <a:spcBef>
                          <a:spcPts val="0"/>
                        </a:spcBef>
                        <a:spcAft>
                          <a:spcPts val="0"/>
                        </a:spcAft>
                        <a:buFont typeface="Symbol"/>
                        <a:buNone/>
                        <a:tabLst>
                          <a:tab pos="102870" algn="l"/>
                        </a:tabLst>
                      </a:pPr>
                      <a:r>
                        <a:rPr lang="en-US" sz="900" dirty="0" smtClean="0">
                          <a:effectLst/>
                          <a:latin typeface="+mn-lt"/>
                          <a:ea typeface="Times New Roman"/>
                        </a:rPr>
                        <a:t>Chaitanya</a:t>
                      </a: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indent="0"/>
                      <a:r>
                        <a:rPr lang="en-US" sz="800" dirty="0" smtClean="0"/>
                        <a:t>Scope</a:t>
                      </a: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Symbol"/>
                        <a:buNone/>
                        <a:tabLst>
                          <a:tab pos="102870" algn="l"/>
                        </a:tabLst>
                        <a:defRPr/>
                      </a:pPr>
                      <a:r>
                        <a:rPr lang="en-US" sz="800" dirty="0" smtClean="0">
                          <a:effectLst/>
                          <a:latin typeface="+mn-lt"/>
                          <a:ea typeface="Times New Roman"/>
                        </a:rPr>
                        <a:t>Open</a:t>
                      </a:r>
                    </a:p>
                    <a:p>
                      <a:pPr marL="0" marR="0" lvl="0" indent="0" algn="ctr">
                        <a:spcBef>
                          <a:spcPts val="0"/>
                        </a:spcBef>
                        <a:spcAft>
                          <a:spcPts val="0"/>
                        </a:spcAft>
                        <a:buFont typeface="Symbol"/>
                        <a:buNone/>
                        <a:tabLst>
                          <a:tab pos="102870" algn="l"/>
                        </a:tabLst>
                      </a:pPr>
                      <a:endParaRPr lang="en-US" sz="8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52388" marR="0" lvl="0" indent="0" algn="l" defTabSz="914400" rtl="0" eaLnBrk="1" fontAlgn="auto" latinLnBrk="0" hangingPunct="1">
                        <a:lnSpc>
                          <a:spcPct val="100000"/>
                        </a:lnSpc>
                        <a:spcBef>
                          <a:spcPts val="0"/>
                        </a:spcBef>
                        <a:spcAft>
                          <a:spcPts val="0"/>
                        </a:spcAft>
                        <a:buClrTx/>
                        <a:buSzTx/>
                        <a:buFont typeface="Symbol"/>
                        <a:buNone/>
                        <a:tabLst>
                          <a:tab pos="102870" algn="l"/>
                        </a:tabLst>
                        <a:defRPr/>
                      </a:pPr>
                      <a:r>
                        <a:rPr lang="en-US" sz="800" kern="1200" dirty="0" smtClean="0">
                          <a:solidFill>
                            <a:schemeClr val="tx1"/>
                          </a:solidFill>
                          <a:effectLst/>
                          <a:latin typeface="+mn-lt"/>
                          <a:ea typeface="+mn-ea"/>
                          <a:cs typeface="+mn-cs"/>
                        </a:rPr>
                        <a:t>Are Indices and Corporate Bonds in scope</a:t>
                      </a:r>
                      <a:endParaRPr lang="en-US" sz="800" dirty="0" smtClean="0"/>
                    </a:p>
                    <a:p>
                      <a:pPr marL="52388" marR="0" lvl="0" indent="0" algn="l">
                        <a:spcBef>
                          <a:spcPts val="0"/>
                        </a:spcBef>
                        <a:spcAft>
                          <a:spcPts val="0"/>
                        </a:spcAft>
                        <a:buFont typeface="Symbol"/>
                        <a:buNone/>
                        <a:tabLst>
                          <a:tab pos="102870" algn="l"/>
                        </a:tabLst>
                      </a:pP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l">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l">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indent="0"/>
                      <a:r>
                        <a:rPr lang="en-US" sz="800" dirty="0" smtClean="0"/>
                        <a:t>Scope</a:t>
                      </a: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Symbol"/>
                        <a:buNone/>
                        <a:tabLst>
                          <a:tab pos="102870" algn="l"/>
                        </a:tabLst>
                        <a:defRPr/>
                      </a:pPr>
                      <a:r>
                        <a:rPr lang="en-US" sz="800" dirty="0" smtClean="0">
                          <a:effectLst/>
                          <a:latin typeface="+mn-lt"/>
                          <a:ea typeface="Times New Roman"/>
                        </a:rPr>
                        <a:t>Open</a:t>
                      </a:r>
                    </a:p>
                    <a:p>
                      <a:pPr marL="0" marR="0" lvl="0" indent="0" algn="ctr">
                        <a:spcBef>
                          <a:spcPts val="0"/>
                        </a:spcBef>
                        <a:spcAft>
                          <a:spcPts val="0"/>
                        </a:spcAft>
                        <a:buFont typeface="Symbol"/>
                        <a:buNone/>
                        <a:tabLst>
                          <a:tab pos="102870" algn="l"/>
                        </a:tabLst>
                      </a:pPr>
                      <a:endParaRPr lang="en-US" sz="8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52388" marR="0" lvl="0" indent="0" algn="l" defTabSz="914400" rtl="0" eaLnBrk="1" fontAlgn="auto" latinLnBrk="0" hangingPunct="1">
                        <a:lnSpc>
                          <a:spcPct val="100000"/>
                        </a:lnSpc>
                        <a:spcBef>
                          <a:spcPts val="0"/>
                        </a:spcBef>
                        <a:spcAft>
                          <a:spcPts val="0"/>
                        </a:spcAft>
                        <a:buClrTx/>
                        <a:buSzTx/>
                        <a:buFont typeface="Symbol"/>
                        <a:buNone/>
                        <a:tabLst>
                          <a:tab pos="102870" algn="l"/>
                        </a:tabLst>
                        <a:defRPr/>
                      </a:pPr>
                      <a:r>
                        <a:rPr lang="en-US" sz="800" kern="1200" dirty="0" smtClean="0">
                          <a:solidFill>
                            <a:schemeClr val="tx1"/>
                          </a:solidFill>
                          <a:effectLst/>
                          <a:latin typeface="+mn-lt"/>
                          <a:ea typeface="+mn-ea"/>
                          <a:cs typeface="+mn-cs"/>
                        </a:rPr>
                        <a:t>Would we ever have an instrument that pays (CFD Currency ) that is different from the Finance Currency?</a:t>
                      </a: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l">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l">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indent="0"/>
                      <a:r>
                        <a:rPr lang="en-US" sz="800" dirty="0" smtClean="0"/>
                        <a:t>Trade Capture</a:t>
                      </a: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Symbol"/>
                        <a:buNone/>
                        <a:tabLst>
                          <a:tab pos="102870" algn="l"/>
                        </a:tabLst>
                        <a:defRPr/>
                      </a:pPr>
                      <a:r>
                        <a:rPr lang="en-US" sz="800" dirty="0" smtClean="0">
                          <a:effectLst/>
                          <a:latin typeface="+mn-lt"/>
                          <a:ea typeface="Times New Roman"/>
                        </a:rPr>
                        <a:t>Open</a:t>
                      </a:r>
                    </a:p>
                    <a:p>
                      <a:pPr marL="0" marR="0" lvl="0" indent="0" algn="ctr">
                        <a:spcBef>
                          <a:spcPts val="0"/>
                        </a:spcBef>
                        <a:spcAft>
                          <a:spcPts val="0"/>
                        </a:spcAft>
                        <a:buFont typeface="Symbol"/>
                        <a:buNone/>
                        <a:tabLst>
                          <a:tab pos="102870" algn="l"/>
                        </a:tabLst>
                      </a:pPr>
                      <a:endParaRPr lang="en-US" sz="8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lvl="0"/>
                      <a:r>
                        <a:rPr lang="en-US" sz="800" kern="1200" dirty="0" smtClean="0">
                          <a:solidFill>
                            <a:schemeClr val="tx1"/>
                          </a:solidFill>
                          <a:effectLst/>
                          <a:latin typeface="+mn-lt"/>
                          <a:ea typeface="+mn-ea"/>
                          <a:cs typeface="+mn-cs"/>
                        </a:rPr>
                        <a:t>Do we need a standard Identifier out to the World (Symbol &amp; CFD flag, or other identifier?)</a:t>
                      </a:r>
                      <a:br>
                        <a:rPr lang="en-US" sz="800" kern="1200" dirty="0" smtClean="0">
                          <a:solidFill>
                            <a:schemeClr val="tx1"/>
                          </a:solidFill>
                          <a:effectLst/>
                          <a:latin typeface="+mn-lt"/>
                          <a:ea typeface="+mn-ea"/>
                          <a:cs typeface="+mn-cs"/>
                        </a:rPr>
                      </a:br>
                      <a:r>
                        <a:rPr lang="en-US" sz="800" kern="1200" dirty="0" smtClean="0">
                          <a:solidFill>
                            <a:schemeClr val="tx1"/>
                          </a:solidFill>
                          <a:effectLst/>
                          <a:latin typeface="+mn-lt"/>
                          <a:ea typeface="+mn-ea"/>
                          <a:cs typeface="+mn-cs"/>
                        </a:rPr>
                        <a:t>a)</a:t>
                      </a:r>
                      <a:r>
                        <a:rPr lang="en-US" sz="800" kern="1200" baseline="0" dirty="0" smtClean="0">
                          <a:solidFill>
                            <a:schemeClr val="tx1"/>
                          </a:solidFill>
                          <a:effectLst/>
                          <a:latin typeface="+mn-lt"/>
                          <a:ea typeface="+mn-ea"/>
                          <a:cs typeface="+mn-cs"/>
                        </a:rPr>
                        <a:t> </a:t>
                      </a:r>
                      <a:r>
                        <a:rPr lang="en-US" sz="800" kern="1200" dirty="0" smtClean="0">
                          <a:solidFill>
                            <a:schemeClr val="tx1"/>
                          </a:solidFill>
                          <a:effectLst/>
                          <a:latin typeface="+mn-lt"/>
                          <a:ea typeface="+mn-ea"/>
                          <a:cs typeface="+mn-cs"/>
                        </a:rPr>
                        <a:t>Middle Office</a:t>
                      </a:r>
                      <a:br>
                        <a:rPr lang="en-US" sz="800" kern="1200" dirty="0" smtClean="0">
                          <a:solidFill>
                            <a:schemeClr val="tx1"/>
                          </a:solidFill>
                          <a:effectLst/>
                          <a:latin typeface="+mn-lt"/>
                          <a:ea typeface="+mn-ea"/>
                          <a:cs typeface="+mn-cs"/>
                        </a:rPr>
                      </a:br>
                      <a:r>
                        <a:rPr lang="en-US" sz="800" kern="1200" dirty="0" smtClean="0">
                          <a:solidFill>
                            <a:schemeClr val="tx1"/>
                          </a:solidFill>
                          <a:effectLst/>
                          <a:latin typeface="+mn-lt"/>
                          <a:ea typeface="+mn-ea"/>
                          <a:cs typeface="+mn-cs"/>
                        </a:rPr>
                        <a:t>b) Core</a:t>
                      </a:r>
                      <a:br>
                        <a:rPr lang="en-US" sz="800" kern="1200" dirty="0" smtClean="0">
                          <a:solidFill>
                            <a:schemeClr val="tx1"/>
                          </a:solidFill>
                          <a:effectLst/>
                          <a:latin typeface="+mn-lt"/>
                          <a:ea typeface="+mn-ea"/>
                          <a:cs typeface="+mn-cs"/>
                        </a:rPr>
                      </a:br>
                      <a:r>
                        <a:rPr lang="en-US" sz="800" kern="1200" dirty="0" smtClean="0">
                          <a:solidFill>
                            <a:schemeClr val="tx1"/>
                          </a:solidFill>
                          <a:effectLst/>
                          <a:latin typeface="+mn-lt"/>
                          <a:ea typeface="+mn-ea"/>
                          <a:cs typeface="+mn-cs"/>
                        </a:rPr>
                        <a:t>C) Trade Capture</a:t>
                      </a:r>
                    </a:p>
                    <a:p>
                      <a:pPr marL="52388" marR="0" lvl="0" indent="0" algn="l">
                        <a:spcBef>
                          <a:spcPts val="0"/>
                        </a:spcBef>
                        <a:spcAft>
                          <a:spcPts val="0"/>
                        </a:spcAft>
                        <a:buFont typeface="Symbol"/>
                        <a:buNone/>
                        <a:tabLst>
                          <a:tab pos="102870" algn="l"/>
                        </a:tabLst>
                      </a:pP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l">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l">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bl>
          </a:graphicData>
        </a:graphic>
      </p:graphicFrame>
      <p:graphicFrame>
        <p:nvGraphicFramePr>
          <p:cNvPr id="29" name="Table 28"/>
          <p:cNvGraphicFramePr>
            <a:graphicFrameLocks noGrp="1"/>
          </p:cNvGraphicFramePr>
          <p:nvPr>
            <p:extLst>
              <p:ext uri="{D42A27DB-BD31-4B8C-83A1-F6EECF244321}">
                <p14:modId xmlns:p14="http://schemas.microsoft.com/office/powerpoint/2010/main" val="2123132214"/>
              </p:ext>
            </p:extLst>
          </p:nvPr>
        </p:nvGraphicFramePr>
        <p:xfrm>
          <a:off x="4247455" y="1944288"/>
          <a:ext cx="2973151" cy="304800"/>
        </p:xfrm>
        <a:graphic>
          <a:graphicData uri="http://schemas.openxmlformats.org/drawingml/2006/table">
            <a:tbl>
              <a:tblPr firstRow="1" bandRow="1">
                <a:tableStyleId>{5C22544A-7EE6-4342-B048-85BDC9FD1C3A}</a:tableStyleId>
              </a:tblPr>
              <a:tblGrid>
                <a:gridCol w="2973151"/>
              </a:tblGrid>
              <a:tr h="273030">
                <a:tc>
                  <a:txBody>
                    <a:bodyPr/>
                    <a:lstStyle/>
                    <a:p>
                      <a:r>
                        <a:rPr lang="en-US" sz="1400" dirty="0" smtClean="0"/>
                        <a:t>UPCOMING ACTIVITIES</a:t>
                      </a:r>
                      <a:endParaRPr lang="en-US" sz="1400" dirty="0"/>
                    </a:p>
                  </a:txBody>
                  <a:tcPr>
                    <a:solidFill>
                      <a:srgbClr val="00B0F0"/>
                    </a:solidFill>
                  </a:tcPr>
                </a:tc>
              </a:tr>
            </a:tbl>
          </a:graphicData>
        </a:graphic>
      </p:graphicFrame>
      <p:sp>
        <p:nvSpPr>
          <p:cNvPr id="32" name="TextBox 31"/>
          <p:cNvSpPr txBox="1"/>
          <p:nvPr/>
        </p:nvSpPr>
        <p:spPr>
          <a:xfrm>
            <a:off x="6912391" y="928447"/>
            <a:ext cx="1640233" cy="1200329"/>
          </a:xfrm>
          <a:prstGeom prst="rect">
            <a:avLst/>
          </a:prstGeom>
          <a:noFill/>
        </p:spPr>
        <p:txBody>
          <a:bodyPr wrap="square" rtlCol="0">
            <a:spAutoFit/>
          </a:bodyPr>
          <a:lstStyle/>
          <a:p>
            <a:r>
              <a:rPr lang="en-US" sz="1200" b="1" dirty="0" smtClean="0"/>
              <a:t>Current Status:   </a:t>
            </a:r>
            <a:br>
              <a:rPr lang="en-US" sz="1200" b="1" dirty="0" smtClean="0"/>
            </a:br>
            <a:r>
              <a:rPr lang="en-US" sz="1200" b="1" dirty="0" smtClean="0"/>
              <a:t/>
            </a:r>
            <a:br>
              <a:rPr lang="en-US" sz="1200" b="1" dirty="0" smtClean="0"/>
            </a:br>
            <a:r>
              <a:rPr lang="en-US" sz="1200" b="1" dirty="0" smtClean="0"/>
              <a:t>UAT Date:</a:t>
            </a:r>
            <a:br>
              <a:rPr lang="en-US" sz="1200" b="1" dirty="0" smtClean="0"/>
            </a:br>
            <a:r>
              <a:rPr lang="en-US" sz="1200" b="1" dirty="0" smtClean="0"/>
              <a:t/>
            </a:r>
            <a:br>
              <a:rPr lang="en-US" sz="1200" b="1" dirty="0" smtClean="0"/>
            </a:br>
            <a:r>
              <a:rPr lang="en-US" sz="1200" b="1" dirty="0" smtClean="0"/>
              <a:t>Prod Date:</a:t>
            </a:r>
            <a:br>
              <a:rPr lang="en-US" sz="1200" b="1" dirty="0" smtClean="0"/>
            </a:br>
            <a:endParaRPr lang="en-US" sz="1200" b="1" dirty="0"/>
          </a:p>
        </p:txBody>
      </p:sp>
      <p:sp>
        <p:nvSpPr>
          <p:cNvPr id="33" name="Rectangle 32"/>
          <p:cNvSpPr/>
          <p:nvPr/>
        </p:nvSpPr>
        <p:spPr>
          <a:xfrm>
            <a:off x="8196618" y="928447"/>
            <a:ext cx="318210" cy="253974"/>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p:cNvSpPr txBox="1"/>
          <p:nvPr/>
        </p:nvSpPr>
        <p:spPr>
          <a:xfrm>
            <a:off x="296974" y="1419079"/>
            <a:ext cx="6731330" cy="369332"/>
          </a:xfrm>
          <a:prstGeom prst="rect">
            <a:avLst/>
          </a:prstGeom>
          <a:noFill/>
        </p:spPr>
        <p:txBody>
          <a:bodyPr wrap="none" rtlCol="0">
            <a:spAutoFit/>
          </a:bodyPr>
          <a:lstStyle/>
          <a:p>
            <a:r>
              <a:rPr lang="en-US" sz="900" dirty="0" smtClean="0"/>
              <a:t>Development is underway &amp; on track with initial plan. Integration points to ATLAS will be available for use from dependent teams</a:t>
            </a:r>
            <a:br>
              <a:rPr lang="en-US" sz="900" dirty="0" smtClean="0"/>
            </a:br>
            <a:r>
              <a:rPr lang="en-US" sz="900" dirty="0" smtClean="0"/>
              <a:t>in the next release.</a:t>
            </a:r>
            <a:endParaRPr lang="en-US" sz="900" dirty="0"/>
          </a:p>
        </p:txBody>
      </p:sp>
      <p:sp>
        <p:nvSpPr>
          <p:cNvPr id="30" name="TextBox 29"/>
          <p:cNvSpPr txBox="1"/>
          <p:nvPr/>
        </p:nvSpPr>
        <p:spPr>
          <a:xfrm>
            <a:off x="296974" y="2281519"/>
            <a:ext cx="1864613" cy="369332"/>
          </a:xfrm>
          <a:prstGeom prst="rect">
            <a:avLst/>
          </a:prstGeom>
          <a:noFill/>
        </p:spPr>
        <p:txBody>
          <a:bodyPr wrap="none" rtlCol="0">
            <a:spAutoFit/>
          </a:bodyPr>
          <a:lstStyle/>
          <a:p>
            <a:r>
              <a:rPr lang="en-US" sz="900" dirty="0" smtClean="0"/>
              <a:t>Kick off meeting held 12/17/2015</a:t>
            </a:r>
            <a:endParaRPr lang="en-US" sz="900" dirty="0"/>
          </a:p>
          <a:p>
            <a:endParaRPr lang="en-US" sz="900" dirty="0"/>
          </a:p>
        </p:txBody>
      </p:sp>
      <p:sp>
        <p:nvSpPr>
          <p:cNvPr id="31" name="TextBox 30"/>
          <p:cNvSpPr txBox="1"/>
          <p:nvPr/>
        </p:nvSpPr>
        <p:spPr>
          <a:xfrm>
            <a:off x="4221274" y="2286563"/>
            <a:ext cx="3008201" cy="369332"/>
          </a:xfrm>
          <a:prstGeom prst="rect">
            <a:avLst/>
          </a:prstGeom>
          <a:noFill/>
        </p:spPr>
        <p:txBody>
          <a:bodyPr wrap="square" rtlCol="0">
            <a:spAutoFit/>
          </a:bodyPr>
          <a:lstStyle/>
          <a:p>
            <a:r>
              <a:rPr lang="en-US" sz="900" dirty="0" smtClean="0"/>
              <a:t>Design meeting </a:t>
            </a:r>
            <a:endParaRPr lang="en-US" sz="900" dirty="0"/>
          </a:p>
          <a:p>
            <a:endParaRPr lang="en-US" sz="900" dirty="0"/>
          </a:p>
        </p:txBody>
      </p:sp>
    </p:spTree>
    <p:extLst>
      <p:ext uri="{BB962C8B-B14F-4D97-AF65-F5344CB8AC3E}">
        <p14:creationId xmlns:p14="http://schemas.microsoft.com/office/powerpoint/2010/main" val="39758838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rot="5400000">
            <a:off x="8697681" y="-65001"/>
            <a:ext cx="351448" cy="481450"/>
          </a:xfrm>
        </p:spPr>
        <p:txBody>
          <a:bodyPr/>
          <a:lstStyle/>
          <a:p>
            <a:fld id="{B383C57C-80DA-45D5-BFE5-7583B8192761}" type="slidenum">
              <a:rPr lang="en-US" smtClean="0"/>
              <a:pPr/>
              <a:t>9</a:t>
            </a:fld>
            <a:endParaRPr lang="en-US"/>
          </a:p>
        </p:txBody>
      </p:sp>
      <p:sp>
        <p:nvSpPr>
          <p:cNvPr id="10" name="Title 1"/>
          <p:cNvSpPr txBox="1">
            <a:spLocks/>
          </p:cNvSpPr>
          <p:nvPr/>
        </p:nvSpPr>
        <p:spPr>
          <a:xfrm>
            <a:off x="296974" y="86576"/>
            <a:ext cx="7677150" cy="965200"/>
          </a:xfrm>
          <a:prstGeom prst="rect">
            <a:avLst/>
          </a:prstGeom>
        </p:spPr>
        <p:txBody>
          <a:bodyPr vert="horz" lIns="91440" tIns="45720" rIns="91440" bIns="45720" rtlCol="0" anchor="ctr">
            <a:normAutofit/>
          </a:bodyPr>
          <a:lstStyle>
            <a:lvl1pPr algn="l" defTabSz="914400" rtl="0" eaLnBrk="1" latinLnBrk="0" hangingPunct="1">
              <a:lnSpc>
                <a:spcPts val="2700"/>
              </a:lnSpc>
              <a:spcBef>
                <a:spcPct val="0"/>
              </a:spcBef>
              <a:buNone/>
              <a:defRPr lang="en-US" sz="3000" b="1" i="0" kern="1200" cap="all" dirty="0" smtClean="0">
                <a:solidFill>
                  <a:schemeClr val="tx1"/>
                </a:solidFill>
                <a:latin typeface="Arial Bold"/>
                <a:ea typeface="+mj-ea"/>
                <a:cs typeface="Arial Bold"/>
              </a:defRPr>
            </a:lvl1pPr>
          </a:lstStyle>
          <a:p>
            <a:r>
              <a:rPr lang="en-US" dirty="0" smtClean="0"/>
              <a:t>Project </a:t>
            </a:r>
            <a:r>
              <a:rPr lang="en-US" dirty="0" smtClean="0">
                <a:solidFill>
                  <a:srgbClr val="00B0F0"/>
                </a:solidFill>
              </a:rPr>
              <a:t>status</a:t>
            </a:r>
            <a:endParaRPr lang="en-US" dirty="0">
              <a:solidFill>
                <a:srgbClr val="00B0F0"/>
              </a:solidFill>
            </a:endParaRPr>
          </a:p>
        </p:txBody>
      </p:sp>
      <p:sp>
        <p:nvSpPr>
          <p:cNvPr id="11" name="Slide Number Placeholder 2"/>
          <p:cNvSpPr txBox="1">
            <a:spLocks/>
          </p:cNvSpPr>
          <p:nvPr/>
        </p:nvSpPr>
        <p:spPr>
          <a:xfrm rot="5400000">
            <a:off x="8697681" y="-65001"/>
            <a:ext cx="351448" cy="481450"/>
          </a:xfrm>
          <a:prstGeom prst="rect">
            <a:avLst/>
          </a:prstGeom>
        </p:spPr>
        <p:txBody>
          <a:bodyPr vert="vert270" lIns="91440" tIns="45720" rIns="91440" bIns="45720" rtlCol="0" anchor="ctr"/>
          <a:lstStyle>
            <a:defPPr>
              <a:defRPr lang="en-US"/>
            </a:defPPr>
            <a:lvl1pPr marL="0" algn="ctr" defTabSz="914400" rtl="0" eaLnBrk="1" latinLnBrk="0" hangingPunct="1">
              <a:defRPr lang="en-US" sz="2000" b="1" kern="1200" smtClean="0">
                <a:solidFill>
                  <a:srgbClr val="606060"/>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83C57C-80DA-45D5-BFE5-7583B8192761}" type="slidenum">
              <a:rPr lang="en-US" smtClean="0"/>
              <a:pPr/>
              <a:t>9</a:t>
            </a:fld>
            <a:endParaRPr lang="en-US" dirty="0"/>
          </a:p>
        </p:txBody>
      </p:sp>
      <p:graphicFrame>
        <p:nvGraphicFramePr>
          <p:cNvPr id="23" name="Table 22"/>
          <p:cNvGraphicFramePr>
            <a:graphicFrameLocks noGrp="1"/>
          </p:cNvGraphicFramePr>
          <p:nvPr>
            <p:extLst>
              <p:ext uri="{D42A27DB-BD31-4B8C-83A1-F6EECF244321}">
                <p14:modId xmlns:p14="http://schemas.microsoft.com/office/powerpoint/2010/main" val="1644567134"/>
              </p:ext>
            </p:extLst>
          </p:nvPr>
        </p:nvGraphicFramePr>
        <p:xfrm>
          <a:off x="385635" y="812945"/>
          <a:ext cx="8043989" cy="304800"/>
        </p:xfrm>
        <a:graphic>
          <a:graphicData uri="http://schemas.openxmlformats.org/drawingml/2006/table">
            <a:tbl>
              <a:tblPr firstRow="1" bandRow="1">
                <a:tableStyleId>{5C22544A-7EE6-4342-B048-85BDC9FD1C3A}</a:tableStyleId>
              </a:tblPr>
              <a:tblGrid>
                <a:gridCol w="8043989"/>
              </a:tblGrid>
              <a:tr h="254654">
                <a:tc>
                  <a:txBody>
                    <a:bodyPr/>
                    <a:lstStyle/>
                    <a:p>
                      <a:r>
                        <a:rPr lang="en-US" sz="1400" i="0" dirty="0" smtClean="0"/>
                        <a:t>ISSUES &amp; RISKS – contd.</a:t>
                      </a:r>
                      <a:endParaRPr lang="en-US" sz="1400" i="0" dirty="0"/>
                    </a:p>
                  </a:txBody>
                  <a:tcPr>
                    <a:solidFill>
                      <a:srgbClr val="00B0F0"/>
                    </a:solidFill>
                  </a:tcPr>
                </a:tc>
              </a:tr>
            </a:tbl>
          </a:graphicData>
        </a:graphic>
      </p:graphicFrame>
      <p:graphicFrame>
        <p:nvGraphicFramePr>
          <p:cNvPr id="24" name="Group 984"/>
          <p:cNvGraphicFramePr>
            <a:graphicFrameLocks noGrp="1"/>
          </p:cNvGraphicFramePr>
          <p:nvPr>
            <p:extLst>
              <p:ext uri="{D42A27DB-BD31-4B8C-83A1-F6EECF244321}">
                <p14:modId xmlns:p14="http://schemas.microsoft.com/office/powerpoint/2010/main" val="931797883"/>
              </p:ext>
            </p:extLst>
          </p:nvPr>
        </p:nvGraphicFramePr>
        <p:xfrm>
          <a:off x="394911" y="1146144"/>
          <a:ext cx="8034461" cy="5491360"/>
        </p:xfrm>
        <a:graphic>
          <a:graphicData uri="http://schemas.openxmlformats.org/drawingml/2006/table">
            <a:tbl>
              <a:tblPr/>
              <a:tblGrid>
                <a:gridCol w="1500564"/>
                <a:gridCol w="1171575"/>
                <a:gridCol w="3467100"/>
                <a:gridCol w="795839"/>
                <a:gridCol w="1099383"/>
              </a:tblGrid>
              <a:tr h="265173">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200" b="1" i="0" u="none" strike="noStrike" cap="none" normalizeH="0" baseline="0" dirty="0" smtClean="0">
                          <a:ln>
                            <a:noFill/>
                          </a:ln>
                          <a:solidFill>
                            <a:srgbClr val="606060"/>
                          </a:solidFill>
                          <a:effectLst/>
                          <a:latin typeface="Arial" charset="0"/>
                          <a:cs typeface="Arial" charset="0"/>
                        </a:rPr>
                        <a:t>Issue/Risk</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defRPr/>
                      </a:pPr>
                      <a:r>
                        <a:rPr kumimoji="0" lang="en-US" sz="1200" b="1" i="0" u="none" strike="noStrike" cap="none" normalizeH="0" baseline="0" dirty="0" smtClean="0">
                          <a:ln>
                            <a:noFill/>
                          </a:ln>
                          <a:solidFill>
                            <a:srgbClr val="606060"/>
                          </a:solidFill>
                          <a:effectLst/>
                          <a:latin typeface="Arial" charset="0"/>
                          <a:cs typeface="Arial" charset="0"/>
                        </a:rPr>
                        <a:t>Status</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200" b="1" i="0" u="none" strike="noStrike" cap="none" normalizeH="0" baseline="0" dirty="0" smtClean="0">
                          <a:ln>
                            <a:noFill/>
                          </a:ln>
                          <a:solidFill>
                            <a:srgbClr val="606060"/>
                          </a:solidFill>
                          <a:effectLst/>
                          <a:latin typeface="Arial" charset="0"/>
                          <a:cs typeface="Arial" charset="0"/>
                        </a:rPr>
                        <a:t>Detail</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defRPr/>
                      </a:pPr>
                      <a:r>
                        <a:rPr kumimoji="0" lang="en-US" sz="1200" b="1" i="0" u="none" strike="noStrike" cap="none" normalizeH="0" baseline="0" dirty="0" smtClean="0">
                          <a:ln>
                            <a:noFill/>
                          </a:ln>
                          <a:solidFill>
                            <a:srgbClr val="606060"/>
                          </a:solidFill>
                          <a:effectLst/>
                          <a:latin typeface="Arial" charset="0"/>
                          <a:cs typeface="Arial" charset="0"/>
                        </a:rPr>
                        <a:t>Impact</a:t>
                      </a:r>
                    </a:p>
                    <a:p>
                      <a:pPr marL="0" marR="0" lvl="0" indent="0" algn="ctr" defTabSz="895350" rtl="0" eaLnBrk="0" fontAlgn="base" latinLnBrk="0" hangingPunct="0">
                        <a:lnSpc>
                          <a:spcPct val="100000"/>
                        </a:lnSpc>
                        <a:spcBef>
                          <a:spcPct val="0"/>
                        </a:spcBef>
                        <a:spcAft>
                          <a:spcPct val="0"/>
                        </a:spcAft>
                        <a:buClrTx/>
                        <a:buSzPct val="120000"/>
                        <a:buFontTx/>
                        <a:buNone/>
                        <a:tabLst/>
                      </a:pPr>
                      <a:endParaRPr kumimoji="0" lang="en-US" sz="1200" b="1" i="0" u="none" strike="noStrike" cap="none" normalizeH="0" baseline="0" dirty="0" smtClean="0">
                        <a:ln>
                          <a:noFill/>
                        </a:ln>
                        <a:solidFill>
                          <a:srgbClr val="606060"/>
                        </a:solidFill>
                        <a:effectLst/>
                        <a:latin typeface="Arial" charset="0"/>
                        <a:cs typeface="Arial" charset="0"/>
                      </a:endParaRP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895350" rtl="0" eaLnBrk="0" fontAlgn="base" latinLnBrk="0" hangingPunct="0">
                        <a:lnSpc>
                          <a:spcPct val="100000"/>
                        </a:lnSpc>
                        <a:spcBef>
                          <a:spcPct val="0"/>
                        </a:spcBef>
                        <a:spcAft>
                          <a:spcPct val="0"/>
                        </a:spcAft>
                        <a:buClrTx/>
                        <a:buSzPct val="120000"/>
                        <a:buFontTx/>
                        <a:buNone/>
                        <a:tabLst/>
                      </a:pPr>
                      <a:r>
                        <a:rPr kumimoji="0" lang="en-US" sz="1200" b="1" i="0" u="none" strike="noStrike" cap="none" normalizeH="0" baseline="0" dirty="0" smtClean="0">
                          <a:ln>
                            <a:noFill/>
                          </a:ln>
                          <a:solidFill>
                            <a:srgbClr val="606060"/>
                          </a:solidFill>
                          <a:effectLst/>
                          <a:latin typeface="Arial" charset="0"/>
                          <a:cs typeface="Arial" charset="0"/>
                        </a:rPr>
                        <a:t>Owner</a:t>
                      </a:r>
                    </a:p>
                  </a:txBody>
                  <a:tcPr marL="93294" marR="93294" marT="46643" marB="46643" horzOverflow="overflow">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r>
              <a:tr h="353142">
                <a:tc>
                  <a:txBody>
                    <a:bodyPr/>
                    <a:lstStyle/>
                    <a:p>
                      <a:pPr marL="52388" indent="0" algn="ctr"/>
                      <a:r>
                        <a:rPr lang="en-US" sz="800" dirty="0" smtClean="0"/>
                        <a:t>Core</a:t>
                      </a: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800" dirty="0" smtClean="0">
                          <a:effectLst/>
                          <a:latin typeface="+mn-lt"/>
                          <a:ea typeface="Times New Roman"/>
                        </a:rPr>
                        <a:t>Open</a:t>
                      </a: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algn="l"/>
                      <a:r>
                        <a:rPr lang="en-US" sz="800" b="0" i="0" kern="1200" dirty="0" smtClean="0">
                          <a:solidFill>
                            <a:schemeClr val="tx1"/>
                          </a:solidFill>
                          <a:effectLst/>
                          <a:latin typeface="+mn-lt"/>
                          <a:ea typeface="+mn-ea"/>
                          <a:cs typeface="+mn-cs"/>
                        </a:rPr>
                        <a:t>The current strategy to solve for CFDs is to have Core create the investment, and ATLAS will then record the attributes and impacts of that investment. At this point, Core has no way of making this a "Loadable Investment"....In other words, a user will not be able to see this investment in SWPM&lt;GO&gt;, or run DES&lt;GO&gt; as they can for other investments. While we believe that this is on Core's road-map, we have no transparency into when this will be available.</a:t>
                      </a: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indent="0" algn="ctr"/>
                      <a:r>
                        <a:rPr lang="en-US" sz="800" kern="1200" dirty="0" smtClean="0">
                          <a:solidFill>
                            <a:schemeClr val="tx1"/>
                          </a:solidFill>
                          <a:effectLst/>
                          <a:latin typeface="+mn-lt"/>
                          <a:ea typeface="+mn-ea"/>
                          <a:cs typeface="+mn-cs"/>
                        </a:rPr>
                        <a:t>Closing transactions </a:t>
                      </a: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Symbol"/>
                        <a:buNone/>
                        <a:tabLst>
                          <a:tab pos="102870" algn="l"/>
                        </a:tabLst>
                        <a:defRPr/>
                      </a:pPr>
                      <a:r>
                        <a:rPr lang="en-US" sz="800" dirty="0" smtClean="0">
                          <a:effectLst/>
                          <a:latin typeface="+mn-lt"/>
                          <a:ea typeface="Times New Roman"/>
                        </a:rPr>
                        <a:t>Open</a:t>
                      </a:r>
                    </a:p>
                    <a:p>
                      <a:pPr marL="0" marR="0" lvl="0" indent="0" algn="ctr">
                        <a:spcBef>
                          <a:spcPts val="0"/>
                        </a:spcBef>
                        <a:spcAft>
                          <a:spcPts val="0"/>
                        </a:spcAft>
                        <a:buFont typeface="Symbol"/>
                        <a:buNone/>
                        <a:tabLst>
                          <a:tab pos="102870" algn="l"/>
                        </a:tabLst>
                      </a:pP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solidFill>
                      <a:schemeClr val="bg1"/>
                    </a:solidFill>
                  </a:tcPr>
                </a:tc>
                <a:tc>
                  <a:txBody>
                    <a:bodyPr/>
                    <a:lstStyle/>
                    <a:p>
                      <a:pPr algn="l"/>
                      <a:r>
                        <a:rPr lang="en-US" sz="800" kern="1200" dirty="0" smtClean="0">
                          <a:solidFill>
                            <a:schemeClr val="tx1"/>
                          </a:solidFill>
                          <a:effectLst/>
                          <a:latin typeface="+mn-lt"/>
                          <a:ea typeface="+mn-ea"/>
                          <a:cs typeface="+mn-cs"/>
                        </a:rPr>
                        <a:t> How do we identify, do we force Lots for these products? Relief methods</a:t>
                      </a:r>
                      <a:r>
                        <a:rPr lang="en-US" sz="800" kern="1200" dirty="0" smtClean="0">
                          <a:solidFill>
                            <a:schemeClr val="tx1"/>
                          </a:solidFill>
                          <a:effectLst/>
                          <a:latin typeface="+mn-lt"/>
                          <a:ea typeface="+mn-ea"/>
                          <a:cs typeface="+mn-cs"/>
                        </a:rPr>
                        <a:t>?  </a:t>
                      </a:r>
                      <a:r>
                        <a:rPr lang="en-US" sz="800" b="0" i="0" kern="1200" dirty="0" smtClean="0">
                          <a:solidFill>
                            <a:schemeClr val="tx1"/>
                          </a:solidFill>
                          <a:effectLst/>
                          <a:latin typeface="+mn-lt"/>
                          <a:ea typeface="+mn-ea"/>
                          <a:cs typeface="+mn-cs"/>
                        </a:rPr>
                        <a:t>R&amp;D needs to assess if we are able to do asset servicing without requiring a ticketing model. The crux of the problem is how do we associate an unwind (sell) to the correct asset if its not explicitly stated in the ticket</a:t>
                      </a:r>
                      <a:endParaRPr lang="en-US" sz="800" b="0" i="0" kern="1200" dirty="0" smtClean="0">
                        <a:solidFill>
                          <a:schemeClr val="tx1"/>
                        </a:solidFill>
                        <a:effectLst/>
                        <a:latin typeface="+mn-lt"/>
                        <a:ea typeface="+mn-ea"/>
                        <a:cs typeface="+mn-cs"/>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900" dirty="0" smtClean="0">
                          <a:effectLst/>
                          <a:latin typeface="+mn-lt"/>
                          <a:ea typeface="Times New Roman"/>
                        </a:rPr>
                        <a:t>CP</a:t>
                      </a: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indent="0" algn="ctr"/>
                      <a:r>
                        <a:rPr lang="en-US" sz="800" dirty="0" smtClean="0"/>
                        <a:t>Trade</a:t>
                      </a:r>
                      <a:r>
                        <a:rPr lang="en-US" sz="800" baseline="0" dirty="0" smtClean="0"/>
                        <a:t> Capture - EMSX</a:t>
                      </a: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Symbol"/>
                        <a:buNone/>
                        <a:tabLst>
                          <a:tab pos="102870" algn="l"/>
                        </a:tabLst>
                        <a:defRPr/>
                      </a:pPr>
                      <a:r>
                        <a:rPr lang="en-US" sz="800" dirty="0" smtClean="0">
                          <a:effectLst/>
                          <a:latin typeface="+mn-lt"/>
                          <a:ea typeface="Times New Roman"/>
                        </a:rPr>
                        <a:t>Open</a:t>
                      </a:r>
                    </a:p>
                    <a:p>
                      <a:pPr marL="0" marR="0" lvl="0" indent="0" algn="ctr">
                        <a:spcBef>
                          <a:spcPts val="0"/>
                        </a:spcBef>
                        <a:spcAft>
                          <a:spcPts val="0"/>
                        </a:spcAft>
                        <a:buFont typeface="Symbol"/>
                        <a:buNone/>
                        <a:tabLst>
                          <a:tab pos="102870" algn="l"/>
                        </a:tabLst>
                      </a:pPr>
                      <a:endParaRPr lang="en-US" sz="8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lvl="0" algn="l"/>
                      <a:r>
                        <a:rPr lang="en-US" sz="800" kern="1200" dirty="0" smtClean="0">
                          <a:solidFill>
                            <a:schemeClr val="tx1"/>
                          </a:solidFill>
                          <a:effectLst/>
                          <a:latin typeface="+mn-lt"/>
                          <a:ea typeface="+mn-ea"/>
                          <a:cs typeface="+mn-cs"/>
                        </a:rPr>
                        <a:t>What Information is EMSX passing? </a:t>
                      </a:r>
                      <a:endParaRPr lang="en-US" sz="800" kern="1200" dirty="0">
                        <a:solidFill>
                          <a:schemeClr val="tx1"/>
                        </a:solidFill>
                        <a:effectLst/>
                        <a:latin typeface="+mn-lt"/>
                        <a:ea typeface="+mn-ea"/>
                        <a:cs typeface="+mn-cs"/>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900" dirty="0" smtClean="0">
                          <a:effectLst/>
                          <a:latin typeface="+mn-lt"/>
                          <a:ea typeface="Times New Roman"/>
                        </a:rPr>
                        <a:t>Scott</a:t>
                      </a:r>
                      <a:r>
                        <a:rPr lang="en-US" sz="900" baseline="0" dirty="0" smtClean="0">
                          <a:effectLst/>
                          <a:latin typeface="+mn-lt"/>
                          <a:ea typeface="Times New Roman"/>
                        </a:rPr>
                        <a:t> Lewis</a:t>
                      </a: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indent="0" algn="ctr"/>
                      <a:r>
                        <a:rPr lang="en-US" sz="800" dirty="0" smtClean="0"/>
                        <a:t>Trade Capture</a:t>
                      </a: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Symbol"/>
                        <a:buNone/>
                        <a:tabLst>
                          <a:tab pos="102870" algn="l"/>
                        </a:tabLst>
                        <a:defRPr/>
                      </a:pPr>
                      <a:r>
                        <a:rPr lang="en-US" sz="800" dirty="0" smtClean="0">
                          <a:effectLst/>
                          <a:latin typeface="+mn-lt"/>
                          <a:ea typeface="Times New Roman"/>
                        </a:rPr>
                        <a:t>Open</a:t>
                      </a:r>
                    </a:p>
                    <a:p>
                      <a:pPr marL="0" marR="0" lvl="0" indent="0" algn="ctr">
                        <a:spcBef>
                          <a:spcPts val="0"/>
                        </a:spcBef>
                        <a:spcAft>
                          <a:spcPts val="0"/>
                        </a:spcAft>
                        <a:buFont typeface="Symbol"/>
                        <a:buNone/>
                        <a:tabLst>
                          <a:tab pos="102870" algn="l"/>
                        </a:tabLst>
                      </a:pPr>
                      <a:endParaRPr lang="en-US" sz="8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52388" marR="0" lvl="0" indent="0" algn="l" defTabSz="914400" rtl="0" eaLnBrk="1" fontAlgn="auto" latinLnBrk="0" hangingPunct="1">
                        <a:lnSpc>
                          <a:spcPct val="100000"/>
                        </a:lnSpc>
                        <a:spcBef>
                          <a:spcPts val="0"/>
                        </a:spcBef>
                        <a:spcAft>
                          <a:spcPts val="0"/>
                        </a:spcAft>
                        <a:buClrTx/>
                        <a:buSzTx/>
                        <a:buFont typeface="Symbol"/>
                        <a:buNone/>
                        <a:tabLst>
                          <a:tab pos="102870" algn="l"/>
                        </a:tabLst>
                        <a:defRPr/>
                      </a:pPr>
                      <a:r>
                        <a:rPr lang="en-US" sz="800" kern="1200" dirty="0" smtClean="0">
                          <a:solidFill>
                            <a:schemeClr val="tx1"/>
                          </a:solidFill>
                          <a:effectLst/>
                          <a:latin typeface="+mn-lt"/>
                          <a:ea typeface="+mn-ea"/>
                          <a:cs typeface="+mn-cs"/>
                        </a:rPr>
                        <a:t>When will CFD information be transmitted to Core to create the Instrument?</a:t>
                      </a:r>
                    </a:p>
                    <a:p>
                      <a:pPr marL="52388" marR="0" lvl="0" indent="0" algn="l">
                        <a:spcBef>
                          <a:spcPts val="0"/>
                        </a:spcBef>
                        <a:spcAft>
                          <a:spcPts val="0"/>
                        </a:spcAft>
                        <a:buFont typeface="Symbol"/>
                        <a:buNone/>
                        <a:tabLst>
                          <a:tab pos="102870" algn="l"/>
                        </a:tabLst>
                      </a:pP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marR="0" indent="0" algn="ctr" defTabSz="914400" rtl="0" eaLnBrk="1" fontAlgn="auto" latinLnBrk="0" hangingPunct="1">
                        <a:lnSpc>
                          <a:spcPct val="100000"/>
                        </a:lnSpc>
                        <a:spcBef>
                          <a:spcPts val="0"/>
                        </a:spcBef>
                        <a:spcAft>
                          <a:spcPts val="0"/>
                        </a:spcAft>
                        <a:buClrTx/>
                        <a:buSzTx/>
                        <a:buFontTx/>
                        <a:buNone/>
                        <a:tabLst/>
                        <a:defRPr/>
                      </a:pPr>
                      <a:r>
                        <a:rPr lang="en-US" sz="800" dirty="0" smtClean="0"/>
                        <a:t>Trade Capture</a:t>
                      </a:r>
                    </a:p>
                    <a:p>
                      <a:pPr marL="52388" indent="0" algn="ct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Symbol"/>
                        <a:buNone/>
                        <a:tabLst>
                          <a:tab pos="102870" algn="l"/>
                        </a:tabLst>
                        <a:defRPr/>
                      </a:pPr>
                      <a:r>
                        <a:rPr lang="en-US" sz="800" dirty="0" smtClean="0">
                          <a:effectLst/>
                          <a:latin typeface="+mn-lt"/>
                          <a:ea typeface="Times New Roman"/>
                        </a:rPr>
                        <a:t>Open</a:t>
                      </a:r>
                    </a:p>
                    <a:p>
                      <a:pPr marL="0" marR="0" lvl="0" indent="0" algn="ctr">
                        <a:spcBef>
                          <a:spcPts val="0"/>
                        </a:spcBef>
                        <a:spcAft>
                          <a:spcPts val="0"/>
                        </a:spcAft>
                        <a:buFont typeface="Symbol"/>
                        <a:buNone/>
                        <a:tabLst>
                          <a:tab pos="102870" algn="l"/>
                        </a:tabLst>
                      </a:pPr>
                      <a:endParaRPr lang="en-US" sz="8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52388" marR="0" lvl="0" indent="0" algn="l" defTabSz="914400" rtl="0" eaLnBrk="1" fontAlgn="auto" latinLnBrk="0" hangingPunct="1">
                        <a:lnSpc>
                          <a:spcPct val="100000"/>
                        </a:lnSpc>
                        <a:spcBef>
                          <a:spcPts val="0"/>
                        </a:spcBef>
                        <a:spcAft>
                          <a:spcPts val="0"/>
                        </a:spcAft>
                        <a:buClrTx/>
                        <a:buSzTx/>
                        <a:buFont typeface="Symbol"/>
                        <a:buNone/>
                        <a:tabLst>
                          <a:tab pos="102870" algn="l"/>
                        </a:tabLst>
                        <a:defRPr/>
                      </a:pPr>
                      <a:r>
                        <a:rPr lang="en-US" sz="800" kern="1200" dirty="0" smtClean="0">
                          <a:solidFill>
                            <a:schemeClr val="tx1"/>
                          </a:solidFill>
                          <a:effectLst/>
                          <a:latin typeface="+mn-lt"/>
                          <a:ea typeface="+mn-ea"/>
                          <a:cs typeface="+mn-cs"/>
                        </a:rPr>
                        <a:t>How will trades be amended / cancelled?</a:t>
                      </a:r>
                    </a:p>
                    <a:p>
                      <a:pPr marL="52388" marR="0" lvl="0" indent="0" algn="l">
                        <a:spcBef>
                          <a:spcPts val="0"/>
                        </a:spcBef>
                        <a:spcAft>
                          <a:spcPts val="0"/>
                        </a:spcAft>
                        <a:buFont typeface="Symbol"/>
                        <a:buNone/>
                        <a:tabLst>
                          <a:tab pos="102870" algn="l"/>
                        </a:tabLst>
                      </a:pP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indent="0" algn="ctr"/>
                      <a:r>
                        <a:rPr lang="en-US" sz="800" dirty="0" smtClean="0"/>
                        <a:t>Valuation/Display</a:t>
                      </a: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Symbol"/>
                        <a:buNone/>
                        <a:tabLst>
                          <a:tab pos="102870" algn="l"/>
                        </a:tabLst>
                        <a:defRPr/>
                      </a:pPr>
                      <a:r>
                        <a:rPr lang="en-US" sz="800" dirty="0" smtClean="0">
                          <a:effectLst/>
                          <a:latin typeface="+mn-lt"/>
                          <a:ea typeface="Times New Roman"/>
                        </a:rPr>
                        <a:t>Open</a:t>
                      </a:r>
                    </a:p>
                    <a:p>
                      <a:pPr marL="0" marR="0" lvl="0" indent="0" algn="ctr">
                        <a:spcBef>
                          <a:spcPts val="0"/>
                        </a:spcBef>
                        <a:spcAft>
                          <a:spcPts val="0"/>
                        </a:spcAft>
                        <a:buFont typeface="Symbol"/>
                        <a:buNone/>
                        <a:tabLst>
                          <a:tab pos="102870" algn="l"/>
                        </a:tabLst>
                      </a:pPr>
                      <a:endParaRPr lang="en-US" sz="8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52388" marR="0" lvl="0" indent="0" algn="l" defTabSz="914400" rtl="0" eaLnBrk="1" fontAlgn="auto" latinLnBrk="0" hangingPunct="1">
                        <a:lnSpc>
                          <a:spcPct val="100000"/>
                        </a:lnSpc>
                        <a:spcBef>
                          <a:spcPts val="0"/>
                        </a:spcBef>
                        <a:spcAft>
                          <a:spcPts val="0"/>
                        </a:spcAft>
                        <a:buClrTx/>
                        <a:buSzTx/>
                        <a:buFont typeface="Symbol"/>
                        <a:buNone/>
                        <a:tabLst>
                          <a:tab pos="102870" algn="l"/>
                        </a:tabLst>
                        <a:defRPr/>
                      </a:pPr>
                      <a:r>
                        <a:rPr lang="en-US" sz="800" kern="1200" dirty="0" smtClean="0">
                          <a:solidFill>
                            <a:schemeClr val="tx1"/>
                          </a:solidFill>
                          <a:effectLst/>
                          <a:latin typeface="+mn-lt"/>
                          <a:ea typeface="+mn-ea"/>
                          <a:cs typeface="+mn-cs"/>
                        </a:rPr>
                        <a:t>Currently we have 3 “</a:t>
                      </a:r>
                      <a:r>
                        <a:rPr lang="en-US" sz="800" kern="1200" dirty="0" err="1" smtClean="0">
                          <a:solidFill>
                            <a:schemeClr val="tx1"/>
                          </a:solidFill>
                          <a:effectLst/>
                          <a:latin typeface="+mn-lt"/>
                          <a:ea typeface="+mn-ea"/>
                          <a:cs typeface="+mn-cs"/>
                        </a:rPr>
                        <a:t>Cusip</a:t>
                      </a:r>
                      <a:r>
                        <a:rPr lang="en-US" sz="800" kern="1200" dirty="0" smtClean="0">
                          <a:solidFill>
                            <a:schemeClr val="tx1"/>
                          </a:solidFill>
                          <a:effectLst/>
                          <a:latin typeface="+mn-lt"/>
                          <a:ea typeface="+mn-ea"/>
                          <a:cs typeface="+mn-cs"/>
                        </a:rPr>
                        <a:t>” (identifier) fields. Will we be using those, a unique ID from Core? Some other field?</a:t>
                      </a:r>
                    </a:p>
                    <a:p>
                      <a:pPr marL="52388" marR="0" lvl="0" indent="0" algn="l">
                        <a:spcBef>
                          <a:spcPts val="0"/>
                        </a:spcBef>
                        <a:spcAft>
                          <a:spcPts val="0"/>
                        </a:spcAft>
                        <a:buFont typeface="Symbol"/>
                        <a:buNone/>
                        <a:tabLst>
                          <a:tab pos="102870" algn="l"/>
                        </a:tabLst>
                      </a:pP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marR="0" indent="0" algn="ctr" defTabSz="914400" rtl="0" eaLnBrk="1" fontAlgn="auto" latinLnBrk="0" hangingPunct="1">
                        <a:lnSpc>
                          <a:spcPct val="100000"/>
                        </a:lnSpc>
                        <a:spcBef>
                          <a:spcPts val="0"/>
                        </a:spcBef>
                        <a:spcAft>
                          <a:spcPts val="0"/>
                        </a:spcAft>
                        <a:buClrTx/>
                        <a:buSzTx/>
                        <a:buFontTx/>
                        <a:buNone/>
                        <a:tabLst/>
                        <a:defRPr/>
                      </a:pPr>
                      <a:r>
                        <a:rPr lang="en-US" sz="800" dirty="0" smtClean="0"/>
                        <a:t>Valuation/Display</a:t>
                      </a:r>
                    </a:p>
                    <a:p>
                      <a:pPr marL="52388" indent="0" algn="ct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Symbol"/>
                        <a:buNone/>
                        <a:tabLst>
                          <a:tab pos="102870" algn="l"/>
                        </a:tabLst>
                        <a:defRPr/>
                      </a:pPr>
                      <a:r>
                        <a:rPr lang="en-US" sz="800" dirty="0" smtClean="0">
                          <a:effectLst/>
                          <a:latin typeface="+mn-lt"/>
                          <a:ea typeface="Times New Roman"/>
                        </a:rPr>
                        <a:t>Open</a:t>
                      </a:r>
                    </a:p>
                    <a:p>
                      <a:pPr marL="0" marR="0" lvl="0" indent="0" algn="ctr">
                        <a:spcBef>
                          <a:spcPts val="0"/>
                        </a:spcBef>
                        <a:spcAft>
                          <a:spcPts val="0"/>
                        </a:spcAft>
                        <a:buFont typeface="Symbol"/>
                        <a:buNone/>
                        <a:tabLst>
                          <a:tab pos="102870" algn="l"/>
                        </a:tabLst>
                      </a:pPr>
                      <a:endParaRPr lang="en-US" sz="8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lvl="0" algn="l"/>
                      <a:r>
                        <a:rPr lang="en-US" sz="800" kern="1200" dirty="0" smtClean="0">
                          <a:solidFill>
                            <a:schemeClr val="tx1"/>
                          </a:solidFill>
                          <a:effectLst/>
                          <a:latin typeface="+mn-lt"/>
                          <a:ea typeface="+mn-ea"/>
                          <a:cs typeface="+mn-cs"/>
                        </a:rPr>
                        <a:t>BDS? Is it different from MAV? How?</a:t>
                      </a:r>
                      <a:endParaRPr lang="en-US" sz="800" kern="1200" dirty="0">
                        <a:solidFill>
                          <a:schemeClr val="tx1"/>
                        </a:solidFill>
                        <a:effectLst/>
                        <a:latin typeface="+mn-lt"/>
                        <a:ea typeface="+mn-ea"/>
                        <a:cs typeface="+mn-cs"/>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marR="0" indent="0" algn="ctr" defTabSz="914400" rtl="0" eaLnBrk="1" fontAlgn="auto" latinLnBrk="0" hangingPunct="1">
                        <a:lnSpc>
                          <a:spcPct val="100000"/>
                        </a:lnSpc>
                        <a:spcBef>
                          <a:spcPts val="0"/>
                        </a:spcBef>
                        <a:spcAft>
                          <a:spcPts val="0"/>
                        </a:spcAft>
                        <a:buClrTx/>
                        <a:buSzTx/>
                        <a:buFontTx/>
                        <a:buNone/>
                        <a:tabLst/>
                        <a:defRPr/>
                      </a:pPr>
                      <a:r>
                        <a:rPr lang="en-US" sz="800" dirty="0" smtClean="0"/>
                        <a:t>Valuation/Display</a:t>
                      </a:r>
                    </a:p>
                    <a:p>
                      <a:pPr marL="52388" indent="0" algn="ct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Symbol"/>
                        <a:buNone/>
                        <a:tabLst>
                          <a:tab pos="102870" algn="l"/>
                        </a:tabLst>
                        <a:defRPr/>
                      </a:pPr>
                      <a:r>
                        <a:rPr lang="en-US" sz="800" dirty="0" smtClean="0">
                          <a:effectLst/>
                          <a:latin typeface="+mn-lt"/>
                          <a:ea typeface="Times New Roman"/>
                        </a:rPr>
                        <a:t>Open</a:t>
                      </a:r>
                    </a:p>
                    <a:p>
                      <a:pPr marL="0" marR="0" lvl="0" indent="0" algn="ctr">
                        <a:spcBef>
                          <a:spcPts val="0"/>
                        </a:spcBef>
                        <a:spcAft>
                          <a:spcPts val="0"/>
                        </a:spcAft>
                        <a:buFont typeface="Symbol"/>
                        <a:buNone/>
                        <a:tabLst>
                          <a:tab pos="102870" algn="l"/>
                        </a:tabLst>
                      </a:pPr>
                      <a:endParaRPr lang="en-US" sz="8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52388" marR="0" lvl="0" indent="0" algn="l" defTabSz="914400" rtl="0" eaLnBrk="1" fontAlgn="auto" latinLnBrk="0" hangingPunct="1">
                        <a:lnSpc>
                          <a:spcPct val="100000"/>
                        </a:lnSpc>
                        <a:spcBef>
                          <a:spcPts val="0"/>
                        </a:spcBef>
                        <a:spcAft>
                          <a:spcPts val="0"/>
                        </a:spcAft>
                        <a:buClrTx/>
                        <a:buSzTx/>
                        <a:buFont typeface="Symbol"/>
                        <a:buNone/>
                        <a:tabLst>
                          <a:tab pos="102870" algn="l"/>
                        </a:tabLst>
                        <a:defRPr/>
                      </a:pPr>
                      <a:r>
                        <a:rPr lang="en-US" sz="800" kern="1200" dirty="0" smtClean="0">
                          <a:solidFill>
                            <a:schemeClr val="tx1"/>
                          </a:solidFill>
                          <a:effectLst/>
                          <a:latin typeface="+mn-lt"/>
                          <a:ea typeface="+mn-ea"/>
                          <a:cs typeface="+mn-cs"/>
                        </a:rPr>
                        <a:t>If other applications use legacy sources (HFDB) they will not match the new accurate data source. Can / should we mitigate this?</a:t>
                      </a:r>
                    </a:p>
                    <a:p>
                      <a:pPr marL="52388" marR="0" lvl="0" indent="0" algn="l">
                        <a:spcBef>
                          <a:spcPts val="0"/>
                        </a:spcBef>
                        <a:spcAft>
                          <a:spcPts val="0"/>
                        </a:spcAft>
                        <a:buFont typeface="Symbol"/>
                        <a:buNone/>
                        <a:tabLst>
                          <a:tab pos="102870" algn="l"/>
                        </a:tabLst>
                      </a:pP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marR="0" indent="0" algn="ctr" defTabSz="914400" rtl="0" eaLnBrk="1" fontAlgn="auto" latinLnBrk="0" hangingPunct="1">
                        <a:lnSpc>
                          <a:spcPct val="100000"/>
                        </a:lnSpc>
                        <a:spcBef>
                          <a:spcPts val="0"/>
                        </a:spcBef>
                        <a:spcAft>
                          <a:spcPts val="0"/>
                        </a:spcAft>
                        <a:buClrTx/>
                        <a:buSzTx/>
                        <a:buFontTx/>
                        <a:buNone/>
                        <a:tabLst/>
                        <a:defRPr/>
                      </a:pPr>
                      <a:r>
                        <a:rPr lang="en-US" sz="800" dirty="0" smtClean="0"/>
                        <a:t>Valuation/Display</a:t>
                      </a:r>
                    </a:p>
                    <a:p>
                      <a:pPr marL="52388" indent="0" algn="ct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Symbol"/>
                        <a:buNone/>
                        <a:tabLst>
                          <a:tab pos="102870" algn="l"/>
                        </a:tabLst>
                        <a:defRPr/>
                      </a:pPr>
                      <a:r>
                        <a:rPr lang="en-US" sz="800" dirty="0" smtClean="0">
                          <a:effectLst/>
                          <a:latin typeface="+mn-lt"/>
                          <a:ea typeface="Times New Roman"/>
                        </a:rPr>
                        <a:t>Open</a:t>
                      </a:r>
                    </a:p>
                    <a:p>
                      <a:pPr marL="0" marR="0" lvl="0" indent="0" algn="ctr">
                        <a:spcBef>
                          <a:spcPts val="0"/>
                        </a:spcBef>
                        <a:spcAft>
                          <a:spcPts val="0"/>
                        </a:spcAft>
                        <a:buFont typeface="Symbol"/>
                        <a:buNone/>
                        <a:tabLst>
                          <a:tab pos="102870" algn="l"/>
                        </a:tabLst>
                      </a:pPr>
                      <a:endParaRPr lang="en-US" sz="8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52388" marR="0" lvl="0" indent="0" algn="l" defTabSz="914400" rtl="0" eaLnBrk="1" fontAlgn="auto" latinLnBrk="0" hangingPunct="1">
                        <a:lnSpc>
                          <a:spcPct val="100000"/>
                        </a:lnSpc>
                        <a:spcBef>
                          <a:spcPts val="0"/>
                        </a:spcBef>
                        <a:spcAft>
                          <a:spcPts val="0"/>
                        </a:spcAft>
                        <a:buClrTx/>
                        <a:buSzTx/>
                        <a:buFont typeface="Symbol"/>
                        <a:buNone/>
                        <a:tabLst>
                          <a:tab pos="102870" algn="l"/>
                        </a:tabLst>
                        <a:defRPr/>
                      </a:pPr>
                      <a:r>
                        <a:rPr lang="en-US" sz="800" kern="1200" dirty="0" smtClean="0">
                          <a:solidFill>
                            <a:schemeClr val="tx1"/>
                          </a:solidFill>
                          <a:effectLst/>
                          <a:latin typeface="+mn-lt"/>
                          <a:ea typeface="+mn-ea"/>
                          <a:cs typeface="+mn-cs"/>
                        </a:rPr>
                        <a:t>How will Unfilled Orders be displayed?</a:t>
                      </a:r>
                    </a:p>
                    <a:p>
                      <a:pPr marL="52388" marR="0" lvl="0" indent="0" algn="l">
                        <a:spcBef>
                          <a:spcPts val="0"/>
                        </a:spcBef>
                        <a:spcAft>
                          <a:spcPts val="0"/>
                        </a:spcAft>
                        <a:buFont typeface="Symbol"/>
                        <a:buNone/>
                        <a:tabLst>
                          <a:tab pos="102870" algn="l"/>
                        </a:tabLst>
                      </a:pP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indent="0" algn="ctr"/>
                      <a:r>
                        <a:rPr lang="en-US" sz="800" dirty="0" smtClean="0"/>
                        <a:t>Core</a:t>
                      </a: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Symbol"/>
                        <a:buNone/>
                        <a:tabLst>
                          <a:tab pos="102870" algn="l"/>
                        </a:tabLst>
                        <a:defRPr/>
                      </a:pPr>
                      <a:r>
                        <a:rPr lang="en-US" sz="800" dirty="0" smtClean="0">
                          <a:effectLst/>
                          <a:latin typeface="+mn-lt"/>
                          <a:ea typeface="Times New Roman"/>
                        </a:rPr>
                        <a:t>Open</a:t>
                      </a:r>
                    </a:p>
                    <a:p>
                      <a:pPr marL="0" marR="0" lvl="0" indent="0" algn="ctr">
                        <a:spcBef>
                          <a:spcPts val="0"/>
                        </a:spcBef>
                        <a:spcAft>
                          <a:spcPts val="0"/>
                        </a:spcAft>
                        <a:buFont typeface="Symbol"/>
                        <a:buNone/>
                        <a:tabLst>
                          <a:tab pos="102870" algn="l"/>
                        </a:tabLst>
                      </a:pPr>
                      <a:endParaRPr lang="en-US" sz="800" dirty="0">
                        <a:effectLst/>
                        <a:latin typeface="Times New Roman"/>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52388" marR="0" lvl="0" indent="0" algn="l">
                        <a:spcBef>
                          <a:spcPts val="0"/>
                        </a:spcBef>
                        <a:spcAft>
                          <a:spcPts val="0"/>
                        </a:spcAft>
                        <a:buFont typeface="Symbol"/>
                        <a:buNone/>
                        <a:tabLst>
                          <a:tab pos="102870" algn="l"/>
                        </a:tabLst>
                      </a:pPr>
                      <a:r>
                        <a:rPr lang="en-US" sz="800" kern="1200" dirty="0" smtClean="0">
                          <a:solidFill>
                            <a:schemeClr val="tx1"/>
                          </a:solidFill>
                          <a:effectLst/>
                          <a:latin typeface="+mn-lt"/>
                          <a:ea typeface="+mn-ea"/>
                          <a:cs typeface="+mn-cs"/>
                        </a:rPr>
                        <a:t>Can Core provide Local P&amp;L on a daily basis?</a:t>
                      </a: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900" dirty="0" smtClean="0">
                          <a:effectLst/>
                          <a:latin typeface="+mn-lt"/>
                          <a:ea typeface="Times New Roman"/>
                        </a:rPr>
                        <a:t>Dennis</a:t>
                      </a:r>
                      <a:r>
                        <a:rPr lang="en-US" sz="900" baseline="0" dirty="0" smtClean="0">
                          <a:effectLst/>
                          <a:latin typeface="+mn-lt"/>
                          <a:ea typeface="Times New Roman"/>
                        </a:rPr>
                        <a:t> Duchene</a:t>
                      </a: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marR="0" indent="0" algn="ctr" defTabSz="914400" rtl="0" eaLnBrk="1" fontAlgn="auto" latinLnBrk="0" hangingPunct="1">
                        <a:lnSpc>
                          <a:spcPct val="100000"/>
                        </a:lnSpc>
                        <a:spcBef>
                          <a:spcPts val="0"/>
                        </a:spcBef>
                        <a:spcAft>
                          <a:spcPts val="0"/>
                        </a:spcAft>
                        <a:buClrTx/>
                        <a:buSzTx/>
                        <a:buFontTx/>
                        <a:buNone/>
                        <a:tabLst/>
                        <a:defRPr/>
                      </a:pPr>
                      <a:r>
                        <a:rPr lang="en-US" sz="800" dirty="0" smtClean="0"/>
                        <a:t>Core</a:t>
                      </a:r>
                    </a:p>
                    <a:p>
                      <a:pPr marL="52388" indent="0" algn="ctr"/>
                      <a:endParaRPr lang="en-US" sz="800" dirty="0"/>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Symbol"/>
                        <a:buNone/>
                        <a:tabLst>
                          <a:tab pos="102870" algn="l"/>
                        </a:tabLst>
                        <a:defRPr/>
                      </a:pPr>
                      <a:r>
                        <a:rPr lang="en-US" sz="800" dirty="0" smtClean="0">
                          <a:effectLst/>
                          <a:latin typeface="+mn-lt"/>
                          <a:ea typeface="Times New Roman"/>
                        </a:rPr>
                        <a:t>Open</a:t>
                      </a: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52388" marR="0" lvl="0" indent="0" algn="l" defTabSz="914400" rtl="0" eaLnBrk="1" fontAlgn="auto" latinLnBrk="0" hangingPunct="1">
                        <a:lnSpc>
                          <a:spcPct val="100000"/>
                        </a:lnSpc>
                        <a:spcBef>
                          <a:spcPts val="0"/>
                        </a:spcBef>
                        <a:spcAft>
                          <a:spcPts val="0"/>
                        </a:spcAft>
                        <a:buClrTx/>
                        <a:buSzTx/>
                        <a:buFont typeface="Symbol"/>
                        <a:buNone/>
                        <a:tabLst>
                          <a:tab pos="102870" algn="l"/>
                        </a:tabLst>
                        <a:defRPr/>
                      </a:pPr>
                      <a:r>
                        <a:rPr lang="en-US" sz="800" kern="1200" dirty="0" smtClean="0">
                          <a:solidFill>
                            <a:schemeClr val="tx1"/>
                          </a:solidFill>
                          <a:effectLst/>
                          <a:latin typeface="+mn-lt"/>
                          <a:ea typeface="+mn-ea"/>
                          <a:cs typeface="+mn-cs"/>
                        </a:rPr>
                        <a:t>Can Core provide Local P&amp;L on an intraday basis?</a:t>
                      </a:r>
                    </a:p>
                    <a:p>
                      <a:pPr marL="52388" marR="0" lvl="0" indent="0" algn="l">
                        <a:spcBef>
                          <a:spcPts val="0"/>
                        </a:spcBef>
                        <a:spcAft>
                          <a:spcPts val="0"/>
                        </a:spcAft>
                        <a:buFont typeface="Symbol"/>
                        <a:buNone/>
                        <a:tabLst>
                          <a:tab pos="102870" algn="l"/>
                        </a:tabLst>
                      </a:pP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900" dirty="0" smtClean="0">
                          <a:effectLst/>
                          <a:latin typeface="+mn-lt"/>
                          <a:ea typeface="Times New Roman"/>
                        </a:rPr>
                        <a:t>Dennis</a:t>
                      </a:r>
                      <a:r>
                        <a:rPr lang="en-US" sz="900" baseline="0" dirty="0" smtClean="0">
                          <a:effectLst/>
                          <a:latin typeface="+mn-lt"/>
                          <a:ea typeface="Times New Roman"/>
                        </a:rPr>
                        <a:t> Duchene</a:t>
                      </a: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r h="353142">
                <a:tc>
                  <a:txBody>
                    <a:bodyPr/>
                    <a:lstStyle/>
                    <a:p>
                      <a:pPr marL="52388" marR="0" indent="0" algn="ctr" defTabSz="914400" rtl="0" eaLnBrk="1" fontAlgn="auto" latinLnBrk="0" hangingPunct="1">
                        <a:lnSpc>
                          <a:spcPct val="100000"/>
                        </a:lnSpc>
                        <a:spcBef>
                          <a:spcPts val="0"/>
                        </a:spcBef>
                        <a:spcAft>
                          <a:spcPts val="0"/>
                        </a:spcAft>
                        <a:buClrTx/>
                        <a:buSzTx/>
                        <a:buFontTx/>
                        <a:buNone/>
                        <a:tabLst/>
                        <a:defRPr/>
                      </a:pPr>
                      <a:r>
                        <a:rPr lang="en-US" sz="800" dirty="0" smtClean="0"/>
                        <a:t>Core</a:t>
                      </a: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Symbol"/>
                        <a:buNone/>
                        <a:tabLst>
                          <a:tab pos="102870" algn="l"/>
                        </a:tabLst>
                        <a:defRPr/>
                      </a:pPr>
                      <a:r>
                        <a:rPr lang="en-US" sz="800" dirty="0" smtClean="0">
                          <a:effectLst/>
                          <a:latin typeface="+mn-lt"/>
                          <a:ea typeface="Times New Roman"/>
                        </a:rPr>
                        <a:t>Open</a:t>
                      </a: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52388" marR="0" lvl="0" indent="0" algn="l">
                        <a:spcBef>
                          <a:spcPts val="0"/>
                        </a:spcBef>
                        <a:spcAft>
                          <a:spcPts val="0"/>
                        </a:spcAft>
                        <a:buFont typeface="Symbol"/>
                        <a:buNone/>
                        <a:tabLst>
                          <a:tab pos="102870" algn="l"/>
                        </a:tabLst>
                      </a:pPr>
                      <a:r>
                        <a:rPr lang="en-US" sz="800" kern="1200" dirty="0" smtClean="0">
                          <a:solidFill>
                            <a:schemeClr val="tx1"/>
                          </a:solidFill>
                          <a:effectLst/>
                          <a:latin typeface="+mn-lt"/>
                          <a:ea typeface="+mn-ea"/>
                          <a:cs typeface="+mn-cs"/>
                        </a:rPr>
                        <a:t>Can core provide Base P&amp;L</a:t>
                      </a:r>
                      <a:endParaRPr lang="en-US" sz="8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c>
                  <a:txBody>
                    <a:bodyPr/>
                    <a:lstStyle/>
                    <a:p>
                      <a:pPr marL="0" marR="0" lvl="0" indent="0" algn="ctr">
                        <a:spcBef>
                          <a:spcPts val="0"/>
                        </a:spcBef>
                        <a:spcAft>
                          <a:spcPts val="0"/>
                        </a:spcAft>
                        <a:buFont typeface="Symbol"/>
                        <a:buNone/>
                        <a:tabLst>
                          <a:tab pos="102870" algn="l"/>
                        </a:tabLst>
                      </a:pPr>
                      <a:r>
                        <a:rPr lang="en-US" sz="900" dirty="0" smtClean="0">
                          <a:effectLst/>
                          <a:latin typeface="+mn-lt"/>
                          <a:ea typeface="Times New Roman"/>
                        </a:rPr>
                        <a:t>Dennis</a:t>
                      </a:r>
                      <a:r>
                        <a:rPr lang="en-US" sz="900" baseline="0" dirty="0" smtClean="0">
                          <a:effectLst/>
                          <a:latin typeface="+mn-lt"/>
                          <a:ea typeface="Times New Roman"/>
                        </a:rPr>
                        <a:t> Duchene</a:t>
                      </a:r>
                      <a:endParaRPr lang="en-US" sz="900" dirty="0">
                        <a:effectLst/>
                        <a:latin typeface="+mn-lt"/>
                        <a:ea typeface="Times New Roman"/>
                      </a:endParaRPr>
                    </a:p>
                  </a:txBody>
                  <a:tcPr marL="55386" marR="55386" marT="0" marB="0" anchor="ctr">
                    <a:lnL w="12700" cap="flat" cmpd="sng" algn="ctr">
                      <a:solidFill>
                        <a:srgbClr val="A0A0A0"/>
                      </a:solidFill>
                      <a:prstDash val="solid"/>
                      <a:round/>
                      <a:headEnd type="none" w="med" len="med"/>
                      <a:tailEnd type="none" w="med" len="med"/>
                    </a:lnL>
                    <a:lnR w="12700" cap="flat" cmpd="sng" algn="ctr">
                      <a:solidFill>
                        <a:srgbClr val="A0A0A0"/>
                      </a:solidFill>
                      <a:prstDash val="solid"/>
                      <a:round/>
                      <a:headEnd type="none" w="med" len="med"/>
                      <a:tailEnd type="none" w="med" len="med"/>
                    </a:lnR>
                    <a:lnT w="12700" cap="flat" cmpd="sng" algn="ctr">
                      <a:solidFill>
                        <a:srgbClr val="A0A0A0"/>
                      </a:solidFill>
                      <a:prstDash val="solid"/>
                      <a:round/>
                      <a:headEnd type="none" w="med" len="med"/>
                      <a:tailEnd type="none" w="med" len="med"/>
                    </a:lnT>
                    <a:lnB w="12700" cap="flat" cmpd="sng" algn="ctr">
                      <a:solidFill>
                        <a:srgbClr val="A0A0A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36923154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RESIZE" val="Yes"/>
</p:tagLst>
</file>

<file path=ppt/theme/theme1.xml><?xml version="1.0" encoding="utf-8"?>
<a:theme xmlns:a="http://schemas.openxmlformats.org/drawingml/2006/main" name="Office Theme">
  <a:themeElements>
    <a:clrScheme name="Bloomber Option FINAL">
      <a:dk1>
        <a:sysClr val="windowText" lastClr="000000"/>
      </a:dk1>
      <a:lt1>
        <a:sysClr val="window" lastClr="FFFFFF"/>
      </a:lt1>
      <a:dk2>
        <a:srgbClr val="A0A0A0"/>
      </a:dk2>
      <a:lt2>
        <a:srgbClr val="5EC2A5"/>
      </a:lt2>
      <a:accent1>
        <a:srgbClr val="E31837"/>
      </a:accent1>
      <a:accent2>
        <a:srgbClr val="F78E1E"/>
      </a:accent2>
      <a:accent3>
        <a:srgbClr val="FFDD00"/>
      </a:accent3>
      <a:accent4>
        <a:srgbClr val="A0CF67"/>
      </a:accent4>
      <a:accent5>
        <a:srgbClr val="00BCE4"/>
      </a:accent5>
      <a:accent6>
        <a:srgbClr val="8D64AA"/>
      </a:accent6>
      <a:hlink>
        <a:srgbClr val="5F5F5F"/>
      </a:hlink>
      <a:folHlink>
        <a:srgbClr val="919191"/>
      </a:folHlink>
    </a:clrScheme>
    <a:fontScheme name="BLOOMBER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42FE63FB401A04793974092F4DB53BE" ma:contentTypeVersion="0" ma:contentTypeDescription="Create a new document." ma:contentTypeScope="" ma:versionID="e102b20b40dae8ffaf9dad585d52a3ee">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A42ADFE-475C-4F65-8836-F09F5BFA1F0F}">
  <ds:schemaRefs>
    <ds:schemaRef ds:uri="http://schemas.microsoft.com/sharepoint/v3/contenttype/forms"/>
  </ds:schemaRefs>
</ds:datastoreItem>
</file>

<file path=customXml/itemProps2.xml><?xml version="1.0" encoding="utf-8"?>
<ds:datastoreItem xmlns:ds="http://schemas.openxmlformats.org/officeDocument/2006/customXml" ds:itemID="{A4285C48-E6B3-46A5-8F7E-16F4B5E951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E2573F0D-001C-4A9D-9791-2362B9C3BD64}">
  <ds:schemaRefs>
    <ds:schemaRef ds:uri="http://purl.org/dc/elements/1.1/"/>
    <ds:schemaRef ds:uri="http://schemas.microsoft.com/office/2006/documentManagement/types"/>
    <ds:schemaRef ds:uri="http://www.w3.org/XML/1998/namespace"/>
    <ds:schemaRef ds:uri="http://schemas.openxmlformats.org/package/2006/metadata/core-properties"/>
    <ds:schemaRef ds:uri="http://schemas.microsoft.com/office/2006/metadata/properties"/>
    <ds:schemaRef ds:uri="http://purl.org/dc/dcmitype/"/>
    <ds:schemaRef ds:uri="http://schemas.microsoft.com/office/infopath/2007/PartnerControls"/>
    <ds:schemaRef ds:uri="http://purl.org/dc/terms/"/>
  </ds:schemaRefs>
</ds:datastoreItem>
</file>

<file path=docProps/app.xml><?xml version="1.0" encoding="utf-8"?>
<Properties xmlns="http://schemas.openxmlformats.org/officeDocument/2006/extended-properties" xmlns:vt="http://schemas.openxmlformats.org/officeDocument/2006/docPropsVTypes">
  <TotalTime>125543</TotalTime>
  <Words>1656</Words>
  <Application>Microsoft Office PowerPoint</Application>
  <PresentationFormat>On-screen Show (4:3)</PresentationFormat>
  <Paragraphs>341</Paragraphs>
  <Slides>17</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19" baseType="lpstr">
      <vt:lpstr>Office Theme</vt:lpstr>
      <vt:lpstr>think-cell Slide</vt:lpstr>
      <vt:lpstr> TRADING SOLUTIONS PMO Project: atlas-CFD</vt:lpstr>
      <vt:lpstr>TABLE OF CONTENTS</vt:lpstr>
      <vt:lpstr>PowerPoint Presentation</vt:lpstr>
      <vt:lpstr>Roles and responsibilities</vt:lpstr>
      <vt:lpstr>Stakeholders Outside of tea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ork Streams</vt:lpstr>
      <vt:lpstr>High Level Business Architecture</vt:lpstr>
      <vt:lpstr>PowerPoint Presenta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Rachel</dc:creator>
  <cp:lastModifiedBy>mdaisley1</cp:lastModifiedBy>
  <cp:revision>1088</cp:revision>
  <cp:lastPrinted>2015-12-22T18:00:04Z</cp:lastPrinted>
  <dcterms:created xsi:type="dcterms:W3CDTF">2010-09-14T13:41:12Z</dcterms:created>
  <dcterms:modified xsi:type="dcterms:W3CDTF">2016-01-11T13:5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42FE63FB401A04793974092F4DB53BE</vt:lpwstr>
  </property>
</Properties>
</file>